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sldIdLst>
    <p:sldId id="257" r:id="rId6"/>
    <p:sldId id="345" r:id="rId7"/>
    <p:sldId id="348" r:id="rId8"/>
    <p:sldId id="349" r:id="rId9"/>
    <p:sldId id="347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2D57"/>
    <a:srgbClr val="E7E6E6"/>
    <a:srgbClr val="FDB734"/>
    <a:srgbClr val="EA6637"/>
    <a:srgbClr val="2D3F65"/>
    <a:srgbClr val="2B97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E9FECE-4CFE-6754-8508-89020AAB67CD}" v="5773" dt="2020-10-14T16:35:31.425"/>
    <p1510:client id="{21243930-6C72-6B1E-FBA3-77F4194F881B}" v="8" dt="2020-10-14T12:30:07.085"/>
    <p1510:client id="{306B115B-766F-B2A2-9DCE-94A0469986B8}" v="12" dt="2020-10-14T13:20:43.377"/>
    <p1510:client id="{3B651743-9B8B-25DB-F6F9-31A57AFF4C80}" v="1796" dt="2020-10-14T17:05:53.987"/>
    <p1510:client id="{558CC972-AD70-D781-78CE-658D06A4DC69}" v="642" dt="2020-10-14T11:26:39.687"/>
    <p1510:client id="{6894C397-FE49-A155-C498-09F683507827}" v="46" dt="2020-10-14T16:28:00.958"/>
    <p1510:client id="{78D15E41-D6C3-92B6-71D8-0D1A012395DD}" v="47" dt="2020-10-14T17:11:20.712"/>
    <p1510:client id="{8B8E204D-A33A-403B-9213-59D1B8564604}" v="46" dt="2020-10-14T16:55:10.001"/>
    <p1510:client id="{BB7111F2-C27D-D5E7-A701-442DB981979A}" v="35" dt="2020-10-14T17:08:07.542"/>
    <p1510:client id="{C55CAF1F-6516-D84C-B152-0D3F6177CC4C}" v="117" dt="2020-10-14T17:06:14.896"/>
    <p1510:client id="{EE47C94A-375B-84B9-38E8-C8860B55490F}" v="16" dt="2020-10-14T15:26:40.1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36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DIPUDI SREE RAKHI" userId="S::kudipudi.sree@iitg.ac.in::1db2029c-b983-4e8d-867a-9d774e88250b" providerId="AD" clId="Web-{EE47C94A-375B-84B9-38E8-C8860B55490F}"/>
    <pc:docChg chg="modSld">
      <pc:chgData name="KUDIPUDI SREE RAKHI" userId="S::kudipudi.sree@iitg.ac.in::1db2029c-b983-4e8d-867a-9d774e88250b" providerId="AD" clId="Web-{EE47C94A-375B-84B9-38E8-C8860B55490F}" dt="2020-10-14T15:26:40.127" v="14" actId="1076"/>
      <pc:docMkLst>
        <pc:docMk/>
      </pc:docMkLst>
      <pc:sldChg chg="modSp">
        <pc:chgData name="KUDIPUDI SREE RAKHI" userId="S::kudipudi.sree@iitg.ac.in::1db2029c-b983-4e8d-867a-9d774e88250b" providerId="AD" clId="Web-{EE47C94A-375B-84B9-38E8-C8860B55490F}" dt="2020-10-14T15:26:40.127" v="14" actId="1076"/>
        <pc:sldMkLst>
          <pc:docMk/>
          <pc:sldMk cId="1214773535" sldId="345"/>
        </pc:sldMkLst>
        <pc:spChg chg="mod">
          <ac:chgData name="KUDIPUDI SREE RAKHI" userId="S::kudipudi.sree@iitg.ac.in::1db2029c-b983-4e8d-867a-9d774e88250b" providerId="AD" clId="Web-{EE47C94A-375B-84B9-38E8-C8860B55490F}" dt="2020-10-14T15:26:40.127" v="14" actId="1076"/>
          <ac:spMkLst>
            <pc:docMk/>
            <pc:sldMk cId="1214773535" sldId="345"/>
            <ac:spMk id="26" creationId="{87E40520-592C-4BDB-88E7-E4F751A9AD72}"/>
          </ac:spMkLst>
        </pc:spChg>
      </pc:sldChg>
      <pc:sldChg chg="modSp">
        <pc:chgData name="KUDIPUDI SREE RAKHI" userId="S::kudipudi.sree@iitg.ac.in::1db2029c-b983-4e8d-867a-9d774e88250b" providerId="AD" clId="Web-{EE47C94A-375B-84B9-38E8-C8860B55490F}" dt="2020-10-14T15:09:22.882" v="8" actId="20577"/>
        <pc:sldMkLst>
          <pc:docMk/>
          <pc:sldMk cId="4210269477" sldId="348"/>
        </pc:sldMkLst>
        <pc:spChg chg="mod">
          <ac:chgData name="KUDIPUDI SREE RAKHI" userId="S::kudipudi.sree@iitg.ac.in::1db2029c-b983-4e8d-867a-9d774e88250b" providerId="AD" clId="Web-{EE47C94A-375B-84B9-38E8-C8860B55490F}" dt="2020-10-14T15:09:22.882" v="8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  <pc:docChgLst>
    <pc:chgData name="ARYAN SINGH YADAV" userId="S::aryansingh@iitg.ac.in::33afd359-4278-457e-9e63-a5d24638fe49" providerId="AD" clId="Web-{BB7111F2-C27D-D5E7-A701-442DB981979A}"/>
    <pc:docChg chg="modSld">
      <pc:chgData name="ARYAN SINGH YADAV" userId="S::aryansingh@iitg.ac.in::33afd359-4278-457e-9e63-a5d24638fe49" providerId="AD" clId="Web-{BB7111F2-C27D-D5E7-A701-442DB981979A}" dt="2020-10-14T17:08:05.058" v="32" actId="20577"/>
      <pc:docMkLst>
        <pc:docMk/>
      </pc:docMkLst>
      <pc:sldChg chg="modSp">
        <pc:chgData name="ARYAN SINGH YADAV" userId="S::aryansingh@iitg.ac.in::33afd359-4278-457e-9e63-a5d24638fe49" providerId="AD" clId="Web-{BB7111F2-C27D-D5E7-A701-442DB981979A}" dt="2020-10-14T17:08:05.058" v="32" actId="20577"/>
        <pc:sldMkLst>
          <pc:docMk/>
          <pc:sldMk cId="1014788700" sldId="257"/>
        </pc:sldMkLst>
        <pc:spChg chg="mod">
          <ac:chgData name="ARYAN SINGH YADAV" userId="S::aryansingh@iitg.ac.in::33afd359-4278-457e-9e63-a5d24638fe49" providerId="AD" clId="Web-{BB7111F2-C27D-D5E7-A701-442DB981979A}" dt="2020-10-14T17:08:05.058" v="32" actId="20577"/>
          <ac:spMkLst>
            <pc:docMk/>
            <pc:sldMk cId="1014788700" sldId="257"/>
            <ac:spMk id="11" creationId="{00000000-0000-0000-0000-000000000000}"/>
          </ac:spMkLst>
        </pc:spChg>
      </pc:sldChg>
    </pc:docChg>
  </pc:docChgLst>
  <pc:docChgLst>
    <pc:chgData name="KUDIPUDI SREE RAKHI" userId="S::kudipudi.sree@iitg.ac.in::1db2029c-b983-4e8d-867a-9d774e88250b" providerId="AD" clId="Web-{21243930-6C72-6B1E-FBA3-77F4194F881B}"/>
    <pc:docChg chg="addSld modSld">
      <pc:chgData name="KUDIPUDI SREE RAKHI" userId="S::kudipudi.sree@iitg.ac.in::1db2029c-b983-4e8d-867a-9d774e88250b" providerId="AD" clId="Web-{21243930-6C72-6B1E-FBA3-77F4194F881B}" dt="2020-10-14T12:30:07.085" v="7"/>
      <pc:docMkLst>
        <pc:docMk/>
      </pc:docMkLst>
      <pc:sldChg chg="delSp">
        <pc:chgData name="KUDIPUDI SREE RAKHI" userId="S::kudipudi.sree@iitg.ac.in::1db2029c-b983-4e8d-867a-9d774e88250b" providerId="AD" clId="Web-{21243930-6C72-6B1E-FBA3-77F4194F881B}" dt="2020-10-14T12:30:07.085" v="7"/>
        <pc:sldMkLst>
          <pc:docMk/>
          <pc:sldMk cId="4282987794" sldId="346"/>
        </pc:sldMkLst>
        <pc:graphicFrameChg chg="del">
          <ac:chgData name="KUDIPUDI SREE RAKHI" userId="S::kudipudi.sree@iitg.ac.in::1db2029c-b983-4e8d-867a-9d774e88250b" providerId="AD" clId="Web-{21243930-6C72-6B1E-FBA3-77F4194F881B}" dt="2020-10-14T12:30:07.085" v="7"/>
          <ac:graphicFrameMkLst>
            <pc:docMk/>
            <pc:sldMk cId="4282987794" sldId="346"/>
            <ac:graphicFrameMk id="16" creationId="{5A990CC0-45AE-4139-BE1C-98276E1D422F}"/>
          </ac:graphicFrameMkLst>
        </pc:graphicFrameChg>
      </pc:sldChg>
      <pc:sldChg chg="delSp modSp add replId">
        <pc:chgData name="KUDIPUDI SREE RAKHI" userId="S::kudipudi.sree@iitg.ac.in::1db2029c-b983-4e8d-867a-9d774e88250b" providerId="AD" clId="Web-{21243930-6C72-6B1E-FBA3-77F4194F881B}" dt="2020-10-14T12:30:02.553" v="6"/>
        <pc:sldMkLst>
          <pc:docMk/>
          <pc:sldMk cId="4210269477" sldId="348"/>
        </pc:sldMkLst>
        <pc:spChg chg="del mod">
          <ac:chgData name="KUDIPUDI SREE RAKHI" userId="S::kudipudi.sree@iitg.ac.in::1db2029c-b983-4e8d-867a-9d774e88250b" providerId="AD" clId="Web-{21243930-6C72-6B1E-FBA3-77F4194F881B}" dt="2020-10-14T12:30:02.553" v="6"/>
          <ac:spMkLst>
            <pc:docMk/>
            <pc:sldMk cId="4210269477" sldId="348"/>
            <ac:spMk id="20" creationId="{5104858C-11F4-4C08-84AA-C06851DCFF87}"/>
          </ac:spMkLst>
        </pc:spChg>
        <pc:graphicFrameChg chg="del">
          <ac:chgData name="KUDIPUDI SREE RAKHI" userId="S::kudipudi.sree@iitg.ac.in::1db2029c-b983-4e8d-867a-9d774e88250b" providerId="AD" clId="Web-{21243930-6C72-6B1E-FBA3-77F4194F881B}" dt="2020-10-14T12:29:52.724" v="1"/>
          <ac:graphicFrameMkLst>
            <pc:docMk/>
            <pc:sldMk cId="4210269477" sldId="348"/>
            <ac:graphicFrameMk id="19" creationId="{C6763ABA-888D-41DD-A1BD-DB84DD811C5F}"/>
          </ac:graphicFrameMkLst>
        </pc:graphicFrameChg>
      </pc:sldChg>
    </pc:docChg>
  </pc:docChgLst>
  <pc:docChgLst>
    <pc:chgData name="Guest User" userId="S::urn:spo:anon#9aedada176758be3843a4c4e2eaaa2143694e344a5ac536b48ccd00b92c71a8a::" providerId="AD" clId="Web-{8B8E204D-A33A-403B-9213-59D1B8564604}"/>
    <pc:docChg chg="modSld">
      <pc:chgData name="Guest User" userId="S::urn:spo:anon#9aedada176758be3843a4c4e2eaaa2143694e344a5ac536b48ccd00b92c71a8a::" providerId="AD" clId="Web-{8B8E204D-A33A-403B-9213-59D1B8564604}" dt="2020-10-14T16:55:10.001" v="44" actId="14100"/>
      <pc:docMkLst>
        <pc:docMk/>
      </pc:docMkLst>
      <pc:sldChg chg="modSp">
        <pc:chgData name="Guest User" userId="S::urn:spo:anon#9aedada176758be3843a4c4e2eaaa2143694e344a5ac536b48ccd00b92c71a8a::" providerId="AD" clId="Web-{8B8E204D-A33A-403B-9213-59D1B8564604}" dt="2020-10-14T16:55:10.001" v="44" actId="14100"/>
        <pc:sldMkLst>
          <pc:docMk/>
          <pc:sldMk cId="4282987794" sldId="346"/>
        </pc:sldMkLst>
        <pc:spChg chg="mod">
          <ac:chgData name="Guest User" userId="S::urn:spo:anon#9aedada176758be3843a4c4e2eaaa2143694e344a5ac536b48ccd00b92c71a8a::" providerId="AD" clId="Web-{8B8E204D-A33A-403B-9213-59D1B8564604}" dt="2020-10-14T15:32:46.431" v="10" actId="20577"/>
          <ac:spMkLst>
            <pc:docMk/>
            <pc:sldMk cId="4282987794" sldId="346"/>
            <ac:spMk id="20" creationId="{5104858C-11F4-4C08-84AA-C06851DCFF87}"/>
          </ac:spMkLst>
        </pc:spChg>
        <pc:picChg chg="mod">
          <ac:chgData name="Guest User" userId="S::urn:spo:anon#9aedada176758be3843a4c4e2eaaa2143694e344a5ac536b48ccd00b92c71a8a::" providerId="AD" clId="Web-{8B8E204D-A33A-403B-9213-59D1B8564604}" dt="2020-10-14T16:55:10.001" v="44" actId="14100"/>
          <ac:picMkLst>
            <pc:docMk/>
            <pc:sldMk cId="4282987794" sldId="346"/>
            <ac:picMk id="9" creationId="{428C4574-A35F-4692-B96B-AC0832E07132}"/>
          </ac:picMkLst>
        </pc:picChg>
      </pc:sldChg>
      <pc:sldChg chg="modSp">
        <pc:chgData name="Guest User" userId="S::urn:spo:anon#9aedada176758be3843a4c4e2eaaa2143694e344a5ac536b48ccd00b92c71a8a::" providerId="AD" clId="Web-{8B8E204D-A33A-403B-9213-59D1B8564604}" dt="2020-10-14T16:36:57.206" v="40" actId="20577"/>
        <pc:sldMkLst>
          <pc:docMk/>
          <pc:sldMk cId="2371590935" sldId="347"/>
        </pc:sldMkLst>
        <pc:spChg chg="mod">
          <ac:chgData name="Guest User" userId="S::urn:spo:anon#9aedada176758be3843a4c4e2eaaa2143694e344a5ac536b48ccd00b92c71a8a::" providerId="AD" clId="Web-{8B8E204D-A33A-403B-9213-59D1B8564604}" dt="2020-10-14T16:13:22.887" v="34" actId="20577"/>
          <ac:spMkLst>
            <pc:docMk/>
            <pc:sldMk cId="2371590935" sldId="347"/>
            <ac:spMk id="6" creationId="{00000000-0000-0000-0000-000000000000}"/>
          </ac:spMkLst>
        </pc:spChg>
        <pc:spChg chg="mod">
          <ac:chgData name="Guest User" userId="S::urn:spo:anon#9aedada176758be3843a4c4e2eaaa2143694e344a5ac536b48ccd00b92c71a8a::" providerId="AD" clId="Web-{8B8E204D-A33A-403B-9213-59D1B8564604}" dt="2020-10-14T16:36:57.206" v="40" actId="20577"/>
          <ac:spMkLst>
            <pc:docMk/>
            <pc:sldMk cId="2371590935" sldId="347"/>
            <ac:spMk id="10" creationId="{00000000-0000-0000-0000-000000000000}"/>
          </ac:spMkLst>
        </pc:spChg>
      </pc:sldChg>
      <pc:sldChg chg="modSp">
        <pc:chgData name="Guest User" userId="S::urn:spo:anon#9aedada176758be3843a4c4e2eaaa2143694e344a5ac536b48ccd00b92c71a8a::" providerId="AD" clId="Web-{8B8E204D-A33A-403B-9213-59D1B8564604}" dt="2020-10-14T15:42:13.962" v="22" actId="20577"/>
        <pc:sldMkLst>
          <pc:docMk/>
          <pc:sldMk cId="4210269477" sldId="348"/>
        </pc:sldMkLst>
        <pc:spChg chg="mod">
          <ac:chgData name="Guest User" userId="S::urn:spo:anon#9aedada176758be3843a4c4e2eaaa2143694e344a5ac536b48ccd00b92c71a8a::" providerId="AD" clId="Web-{8B8E204D-A33A-403B-9213-59D1B8564604}" dt="2020-10-14T15:42:13.962" v="22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  <pc:docChgLst>
    <pc:chgData name="KUDIPUDI SREE RAKHI" userId="S::kudipudi.sree@iitg.ac.in::1db2029c-b983-4e8d-867a-9d774e88250b" providerId="AD" clId="Web-{78D15E41-D6C3-92B6-71D8-0D1A012395DD}"/>
    <pc:docChg chg="modSld">
      <pc:chgData name="KUDIPUDI SREE RAKHI" userId="S::kudipudi.sree@iitg.ac.in::1db2029c-b983-4e8d-867a-9d774e88250b" providerId="AD" clId="Web-{78D15E41-D6C3-92B6-71D8-0D1A012395DD}" dt="2020-10-14T17:11:20.008" v="42" actId="20577"/>
      <pc:docMkLst>
        <pc:docMk/>
      </pc:docMkLst>
      <pc:sldChg chg="modSp">
        <pc:chgData name="KUDIPUDI SREE RAKHI" userId="S::kudipudi.sree@iitg.ac.in::1db2029c-b983-4e8d-867a-9d774e88250b" providerId="AD" clId="Web-{78D15E41-D6C3-92B6-71D8-0D1A012395DD}" dt="2020-10-14T17:10:22.739" v="19" actId="1076"/>
        <pc:sldMkLst>
          <pc:docMk/>
          <pc:sldMk cId="1014788700" sldId="257"/>
        </pc:sldMkLst>
        <pc:spChg chg="mod">
          <ac:chgData name="KUDIPUDI SREE RAKHI" userId="S::kudipudi.sree@iitg.ac.in::1db2029c-b983-4e8d-867a-9d774e88250b" providerId="AD" clId="Web-{78D15E41-D6C3-92B6-71D8-0D1A012395DD}" dt="2020-10-14T17:09:41.689" v="18" actId="20577"/>
          <ac:spMkLst>
            <pc:docMk/>
            <pc:sldMk cId="1014788700" sldId="257"/>
            <ac:spMk id="11" creationId="{00000000-0000-0000-0000-000000000000}"/>
          </ac:spMkLst>
        </pc:spChg>
        <pc:picChg chg="mod">
          <ac:chgData name="KUDIPUDI SREE RAKHI" userId="S::kudipudi.sree@iitg.ac.in::1db2029c-b983-4e8d-867a-9d774e88250b" providerId="AD" clId="Web-{78D15E41-D6C3-92B6-71D8-0D1A012395DD}" dt="2020-10-14T17:10:22.739" v="19" actId="1076"/>
          <ac:picMkLst>
            <pc:docMk/>
            <pc:sldMk cId="1014788700" sldId="257"/>
            <ac:picMk id="2" creationId="{00000000-0000-0000-0000-000000000000}"/>
          </ac:picMkLst>
        </pc:picChg>
      </pc:sldChg>
      <pc:sldChg chg="modSp">
        <pc:chgData name="KUDIPUDI SREE RAKHI" userId="S::kudipudi.sree@iitg.ac.in::1db2029c-b983-4e8d-867a-9d774e88250b" providerId="AD" clId="Web-{78D15E41-D6C3-92B6-71D8-0D1A012395DD}" dt="2020-10-14T17:11:20.008" v="41" actId="20577"/>
        <pc:sldMkLst>
          <pc:docMk/>
          <pc:sldMk cId="1214773535" sldId="345"/>
        </pc:sldMkLst>
        <pc:spChg chg="mod">
          <ac:chgData name="KUDIPUDI SREE RAKHI" userId="S::kudipudi.sree@iitg.ac.in::1db2029c-b983-4e8d-867a-9d774e88250b" providerId="AD" clId="Web-{78D15E41-D6C3-92B6-71D8-0D1A012395DD}" dt="2020-10-14T17:10:46.553" v="24" actId="20577"/>
          <ac:spMkLst>
            <pc:docMk/>
            <pc:sldMk cId="1214773535" sldId="345"/>
            <ac:spMk id="19" creationId="{F338D89C-81C1-4FD2-8471-A53E29D312B4}"/>
          </ac:spMkLst>
        </pc:spChg>
        <pc:spChg chg="mod">
          <ac:chgData name="KUDIPUDI SREE RAKHI" userId="S::kudipudi.sree@iitg.ac.in::1db2029c-b983-4e8d-867a-9d774e88250b" providerId="AD" clId="Web-{78D15E41-D6C3-92B6-71D8-0D1A012395DD}" dt="2020-10-14T17:10:55.179" v="28" actId="20577"/>
          <ac:spMkLst>
            <pc:docMk/>
            <pc:sldMk cId="1214773535" sldId="345"/>
            <ac:spMk id="21" creationId="{7A112B2D-448D-4D90-B131-083EC9344944}"/>
          </ac:spMkLst>
        </pc:spChg>
        <pc:spChg chg="mod">
          <ac:chgData name="KUDIPUDI SREE RAKHI" userId="S::kudipudi.sree@iitg.ac.in::1db2029c-b983-4e8d-867a-9d774e88250b" providerId="AD" clId="Web-{78D15E41-D6C3-92B6-71D8-0D1A012395DD}" dt="2020-10-14T17:11:20.008" v="41" actId="20577"/>
          <ac:spMkLst>
            <pc:docMk/>
            <pc:sldMk cId="1214773535" sldId="345"/>
            <ac:spMk id="28" creationId="{D4E11422-48EC-4FBA-9226-866B3A99D93E}"/>
          </ac:spMkLst>
        </pc:spChg>
        <pc:spChg chg="mod">
          <ac:chgData name="KUDIPUDI SREE RAKHI" userId="S::kudipudi.sree@iitg.ac.in::1db2029c-b983-4e8d-867a-9d774e88250b" providerId="AD" clId="Web-{78D15E41-D6C3-92B6-71D8-0D1A012395DD}" dt="2020-10-14T17:11:03.507" v="30" actId="20577"/>
          <ac:spMkLst>
            <pc:docMk/>
            <pc:sldMk cId="1214773535" sldId="345"/>
            <ac:spMk id="29" creationId="{57BE0458-F1ED-4F59-BE4F-E99F957DC8E5}"/>
          </ac:spMkLst>
        </pc:spChg>
      </pc:sldChg>
    </pc:docChg>
  </pc:docChgLst>
  <pc:docChgLst>
    <pc:chgData name="KUDIPUDI SREE RAKHI" userId="S::kudipudi.sree@iitg.ac.in::1db2029c-b983-4e8d-867a-9d774e88250b" providerId="AD" clId="Web-{558CC972-AD70-D781-78CE-658D06A4DC69}"/>
    <pc:docChg chg="modSld">
      <pc:chgData name="KUDIPUDI SREE RAKHI" userId="S::kudipudi.sree@iitg.ac.in::1db2029c-b983-4e8d-867a-9d774e88250b" providerId="AD" clId="Web-{558CC972-AD70-D781-78CE-658D06A4DC69}" dt="2020-10-14T11:26:39.391" v="635" actId="20577"/>
      <pc:docMkLst>
        <pc:docMk/>
      </pc:docMkLst>
      <pc:sldChg chg="modSp">
        <pc:chgData name="KUDIPUDI SREE RAKHI" userId="S::kudipudi.sree@iitg.ac.in::1db2029c-b983-4e8d-867a-9d774e88250b" providerId="AD" clId="Web-{558CC972-AD70-D781-78CE-658D06A4DC69}" dt="2020-10-14T11:26:39.391" v="634" actId="20577"/>
        <pc:sldMkLst>
          <pc:docMk/>
          <pc:sldMk cId="1214773535" sldId="345"/>
        </pc:sldMkLst>
        <pc:spChg chg="mod">
          <ac:chgData name="KUDIPUDI SREE RAKHI" userId="S::kudipudi.sree@iitg.ac.in::1db2029c-b983-4e8d-867a-9d774e88250b" providerId="AD" clId="Web-{558CC972-AD70-D781-78CE-658D06A4DC69}" dt="2020-10-14T11:25:26.448" v="589" actId="20577"/>
          <ac:spMkLst>
            <pc:docMk/>
            <pc:sldMk cId="1214773535" sldId="345"/>
            <ac:spMk id="18" creationId="{861AE5A5-6035-4FE6-9BEC-F2C2920F91D5}"/>
          </ac:spMkLst>
        </pc:spChg>
        <pc:spChg chg="mod">
          <ac:chgData name="KUDIPUDI SREE RAKHI" userId="S::kudipudi.sree@iitg.ac.in::1db2029c-b983-4e8d-867a-9d774e88250b" providerId="AD" clId="Web-{558CC972-AD70-D781-78CE-658D06A4DC69}" dt="2020-10-14T11:25:53.106" v="597" actId="20577"/>
          <ac:spMkLst>
            <pc:docMk/>
            <pc:sldMk cId="1214773535" sldId="345"/>
            <ac:spMk id="19" creationId="{F338D89C-81C1-4FD2-8471-A53E29D312B4}"/>
          </ac:spMkLst>
        </pc:spChg>
        <pc:spChg chg="mod">
          <ac:chgData name="KUDIPUDI SREE RAKHI" userId="S::kudipudi.sree@iitg.ac.in::1db2029c-b983-4e8d-867a-9d774e88250b" providerId="AD" clId="Web-{558CC972-AD70-D781-78CE-658D06A4DC69}" dt="2020-10-14T11:26:39.391" v="634" actId="20577"/>
          <ac:spMkLst>
            <pc:docMk/>
            <pc:sldMk cId="1214773535" sldId="345"/>
            <ac:spMk id="28" creationId="{D4E11422-48EC-4FBA-9226-866B3A99D93E}"/>
          </ac:spMkLst>
        </pc:spChg>
        <pc:cxnChg chg="mod">
          <ac:chgData name="KUDIPUDI SREE RAKHI" userId="S::kudipudi.sree@iitg.ac.in::1db2029c-b983-4e8d-867a-9d774e88250b" providerId="AD" clId="Web-{558CC972-AD70-D781-78CE-658D06A4DC69}" dt="2020-10-14T11:20:52.227" v="237" actId="1076"/>
          <ac:cxnSpMkLst>
            <pc:docMk/>
            <pc:sldMk cId="1214773535" sldId="345"/>
            <ac:cxnSpMk id="25" creationId="{1D6EC99A-805C-457B-8EB2-4E6447F61028}"/>
          </ac:cxnSpMkLst>
        </pc:cxnChg>
      </pc:sldChg>
    </pc:docChg>
  </pc:docChgLst>
  <pc:docChgLst>
    <pc:chgData name="ARYAN SINGH YADAV" userId="33afd359-4278-457e-9e63-a5d24638fe49" providerId="ADAL" clId="{D3B75ACF-B0CB-4C57-A609-EBAD199AB63B}"/>
    <pc:docChg chg="undo custSel modSld">
      <pc:chgData name="ARYAN SINGH YADAV" userId="33afd359-4278-457e-9e63-a5d24638fe49" providerId="ADAL" clId="{D3B75ACF-B0CB-4C57-A609-EBAD199AB63B}" dt="2020-10-14T17:10:38.884" v="1384" actId="1076"/>
      <pc:docMkLst>
        <pc:docMk/>
      </pc:docMkLst>
      <pc:sldChg chg="delSp modSp mod">
        <pc:chgData name="ARYAN SINGH YADAV" userId="33afd359-4278-457e-9e63-a5d24638fe49" providerId="ADAL" clId="{D3B75ACF-B0CB-4C57-A609-EBAD199AB63B}" dt="2020-10-14T15:16:37.752" v="1370"/>
        <pc:sldMkLst>
          <pc:docMk/>
          <pc:sldMk cId="1214773535" sldId="345"/>
        </pc:sldMkLst>
        <pc:spChg chg="mod">
          <ac:chgData name="ARYAN SINGH YADAV" userId="33afd359-4278-457e-9e63-a5d24638fe49" providerId="ADAL" clId="{D3B75ACF-B0CB-4C57-A609-EBAD199AB63B}" dt="2020-10-14T11:18:37.977" v="7" actId="1076"/>
          <ac:spMkLst>
            <pc:docMk/>
            <pc:sldMk cId="1214773535" sldId="345"/>
            <ac:spMk id="13" creationId="{253F0B00-9F09-407D-90AA-438E86AE5AF4}"/>
          </ac:spMkLst>
        </pc:spChg>
        <pc:spChg chg="mod">
          <ac:chgData name="ARYAN SINGH YADAV" userId="33afd359-4278-457e-9e63-a5d24638fe49" providerId="ADAL" clId="{D3B75ACF-B0CB-4C57-A609-EBAD199AB63B}" dt="2020-10-14T11:36:55.957" v="57" actId="114"/>
          <ac:spMkLst>
            <pc:docMk/>
            <pc:sldMk cId="1214773535" sldId="345"/>
            <ac:spMk id="14" creationId="{71E54C86-6854-4699-B6D5-86671A62F66B}"/>
          </ac:spMkLst>
        </pc:spChg>
        <pc:spChg chg="mod">
          <ac:chgData name="ARYAN SINGH YADAV" userId="33afd359-4278-457e-9e63-a5d24638fe49" providerId="ADAL" clId="{D3B75ACF-B0CB-4C57-A609-EBAD199AB63B}" dt="2020-10-14T11:36:31.121" v="53" actId="2711"/>
          <ac:spMkLst>
            <pc:docMk/>
            <pc:sldMk cId="1214773535" sldId="345"/>
            <ac:spMk id="27" creationId="{39C2523E-7DF1-4E76-A5F4-F706E5160171}"/>
          </ac:spMkLst>
        </pc:spChg>
        <pc:spChg chg="del mod">
          <ac:chgData name="ARYAN SINGH YADAV" userId="33afd359-4278-457e-9e63-a5d24638fe49" providerId="ADAL" clId="{D3B75ACF-B0CB-4C57-A609-EBAD199AB63B}" dt="2020-10-14T15:16:37.752" v="1370"/>
          <ac:spMkLst>
            <pc:docMk/>
            <pc:sldMk cId="1214773535" sldId="345"/>
            <ac:spMk id="29" creationId="{57BE0458-F1ED-4F59-BE4F-E99F957DC8E5}"/>
          </ac:spMkLst>
        </pc:spChg>
      </pc:sldChg>
      <pc:sldChg chg="addSp delSp modSp mod">
        <pc:chgData name="ARYAN SINGH YADAV" userId="33afd359-4278-457e-9e63-a5d24638fe49" providerId="ADAL" clId="{D3B75ACF-B0CB-4C57-A609-EBAD199AB63B}" dt="2020-10-14T15:18:58.764" v="1379" actId="114"/>
        <pc:sldMkLst>
          <pc:docMk/>
          <pc:sldMk cId="4282987794" sldId="346"/>
        </pc:sldMkLst>
        <pc:spChg chg="add mod">
          <ac:chgData name="ARYAN SINGH YADAV" userId="33afd359-4278-457e-9e63-a5d24638fe49" providerId="ADAL" clId="{D3B75ACF-B0CB-4C57-A609-EBAD199AB63B}" dt="2020-10-14T15:18:58.764" v="1379" actId="114"/>
          <ac:spMkLst>
            <pc:docMk/>
            <pc:sldMk cId="4282987794" sldId="346"/>
            <ac:spMk id="20" creationId="{5104858C-11F4-4C08-84AA-C06851DCFF87}"/>
          </ac:spMkLst>
        </pc:spChg>
        <pc:spChg chg="mod">
          <ac:chgData name="ARYAN SINGH YADAV" userId="33afd359-4278-457e-9e63-a5d24638fe49" providerId="ADAL" clId="{D3B75ACF-B0CB-4C57-A609-EBAD199AB63B}" dt="2020-10-14T15:18:09.618" v="1374" actId="1076"/>
          <ac:spMkLst>
            <pc:docMk/>
            <pc:sldMk cId="4282987794" sldId="346"/>
            <ac:spMk id="23" creationId="{EF994A15-A78A-4A70-A22E-C0B7484B8268}"/>
          </ac:spMkLst>
        </pc:spChg>
        <pc:graphicFrameChg chg="mod">
          <ac:chgData name="ARYAN SINGH YADAV" userId="33afd359-4278-457e-9e63-a5d24638fe49" providerId="ADAL" clId="{D3B75ACF-B0CB-4C57-A609-EBAD199AB63B}" dt="2020-10-14T12:28:54.978" v="1353" actId="1076"/>
          <ac:graphicFrameMkLst>
            <pc:docMk/>
            <pc:sldMk cId="4282987794" sldId="346"/>
            <ac:graphicFrameMk id="16" creationId="{5A990CC0-45AE-4139-BE1C-98276E1D422F}"/>
          </ac:graphicFrameMkLst>
        </pc:graphicFrameChg>
        <pc:graphicFrameChg chg="add del mod">
          <ac:chgData name="ARYAN SINGH YADAV" userId="33afd359-4278-457e-9e63-a5d24638fe49" providerId="ADAL" clId="{D3B75ACF-B0CB-4C57-A609-EBAD199AB63B}" dt="2020-10-14T11:18:37.357" v="6" actId="1957"/>
          <ac:graphicFrameMkLst>
            <pc:docMk/>
            <pc:sldMk cId="4282987794" sldId="346"/>
            <ac:graphicFrameMk id="16" creationId="{AECCC3A7-FCBE-449D-9C01-AC74F7C2525A}"/>
          </ac:graphicFrameMkLst>
        </pc:graphicFrameChg>
        <pc:graphicFrameChg chg="add mod">
          <ac:chgData name="ARYAN SINGH YADAV" userId="33afd359-4278-457e-9e63-a5d24638fe49" providerId="ADAL" clId="{D3B75ACF-B0CB-4C57-A609-EBAD199AB63B}" dt="2020-10-14T11:39:57.104" v="166" actId="1076"/>
          <ac:graphicFrameMkLst>
            <pc:docMk/>
            <pc:sldMk cId="4282987794" sldId="346"/>
            <ac:graphicFrameMk id="19" creationId="{C6763ABA-888D-41DD-A1BD-DB84DD811C5F}"/>
          </ac:graphicFrameMkLst>
        </pc:graphicFrameChg>
        <pc:graphicFrameChg chg="add del mod modGraphic">
          <ac:chgData name="ARYAN SINGH YADAV" userId="33afd359-4278-457e-9e63-a5d24638fe49" providerId="ADAL" clId="{D3B75ACF-B0CB-4C57-A609-EBAD199AB63B}" dt="2020-10-14T11:55:24.261" v="639" actId="478"/>
          <ac:graphicFrameMkLst>
            <pc:docMk/>
            <pc:sldMk cId="4282987794" sldId="346"/>
            <ac:graphicFrameMk id="21" creationId="{6344C312-CD4F-41AE-B051-7D7F25E9E2E9}"/>
          </ac:graphicFrameMkLst>
        </pc:graphicFrameChg>
      </pc:sldChg>
      <pc:sldChg chg="modSp mod">
        <pc:chgData name="ARYAN SINGH YADAV" userId="33afd359-4278-457e-9e63-a5d24638fe49" providerId="ADAL" clId="{D3B75ACF-B0CB-4C57-A609-EBAD199AB63B}" dt="2020-10-14T17:10:38.884" v="1384" actId="1076"/>
        <pc:sldMkLst>
          <pc:docMk/>
          <pc:sldMk cId="2371590935" sldId="347"/>
        </pc:sldMkLst>
        <pc:spChg chg="mod">
          <ac:chgData name="ARYAN SINGH YADAV" userId="33afd359-4278-457e-9e63-a5d24638fe49" providerId="ADAL" clId="{D3B75ACF-B0CB-4C57-A609-EBAD199AB63B}" dt="2020-10-14T15:56:38.186" v="1382" actId="1076"/>
          <ac:spMkLst>
            <pc:docMk/>
            <pc:sldMk cId="2371590935" sldId="347"/>
            <ac:spMk id="3" creationId="{00000000-0000-0000-0000-000000000000}"/>
          </ac:spMkLst>
        </pc:spChg>
        <pc:spChg chg="mod">
          <ac:chgData name="ARYAN SINGH YADAV" userId="33afd359-4278-457e-9e63-a5d24638fe49" providerId="ADAL" clId="{D3B75ACF-B0CB-4C57-A609-EBAD199AB63B}" dt="2020-10-14T17:10:38.884" v="1384" actId="1076"/>
          <ac:spMkLst>
            <pc:docMk/>
            <pc:sldMk cId="2371590935" sldId="347"/>
            <ac:spMk id="4" creationId="{2D744050-6B1E-4B0D-8F75-9852C4A48E39}"/>
          </ac:spMkLst>
        </pc:spChg>
      </pc:sldChg>
      <pc:sldChg chg="modSp mod">
        <pc:chgData name="ARYAN SINGH YADAV" userId="33afd359-4278-457e-9e63-a5d24638fe49" providerId="ADAL" clId="{D3B75ACF-B0CB-4C57-A609-EBAD199AB63B}" dt="2020-10-14T15:07:20.382" v="1355" actId="20577"/>
        <pc:sldMkLst>
          <pc:docMk/>
          <pc:sldMk cId="4210269477" sldId="348"/>
        </pc:sldMkLst>
        <pc:spChg chg="mod">
          <ac:chgData name="ARYAN SINGH YADAV" userId="33afd359-4278-457e-9e63-a5d24638fe49" providerId="ADAL" clId="{D3B75ACF-B0CB-4C57-A609-EBAD199AB63B}" dt="2020-10-14T15:07:20.382" v="1355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  <pc:docChgLst>
    <pc:chgData name="KUDIPUDI SREE RAKHI" userId="S::kudipudi.sree@iitg.ac.in::1db2029c-b983-4e8d-867a-9d774e88250b" providerId="AD" clId="Web-{C55CAF1F-6516-D84C-B152-0D3F6177CC4C}"/>
    <pc:docChg chg="delSld modSld">
      <pc:chgData name="KUDIPUDI SREE RAKHI" userId="S::kudipudi.sree@iitg.ac.in::1db2029c-b983-4e8d-867a-9d774e88250b" providerId="AD" clId="Web-{C55CAF1F-6516-D84C-B152-0D3F6177CC4C}" dt="2020-10-14T17:06:14.896" v="113" actId="20577"/>
      <pc:docMkLst>
        <pc:docMk/>
      </pc:docMkLst>
      <pc:sldChg chg="delSp">
        <pc:chgData name="KUDIPUDI SREE RAKHI" userId="S::kudipudi.sree@iitg.ac.in::1db2029c-b983-4e8d-867a-9d774e88250b" providerId="AD" clId="Web-{C55CAF1F-6516-D84C-B152-0D3F6177CC4C}" dt="2020-10-14T16:40:47.197" v="34"/>
        <pc:sldMkLst>
          <pc:docMk/>
          <pc:sldMk cId="1014788700" sldId="257"/>
        </pc:sldMkLst>
        <pc:spChg chg="del">
          <ac:chgData name="KUDIPUDI SREE RAKHI" userId="S::kudipudi.sree@iitg.ac.in::1db2029c-b983-4e8d-867a-9d774e88250b" providerId="AD" clId="Web-{C55CAF1F-6516-D84C-B152-0D3F6177CC4C}" dt="2020-10-14T16:40:47.197" v="34"/>
          <ac:spMkLst>
            <pc:docMk/>
            <pc:sldMk cId="1014788700" sldId="257"/>
            <ac:spMk id="9" creationId="{BAE50304-64D6-4094-B02E-C0928CCE7CEC}"/>
          </ac:spMkLst>
        </pc:spChg>
      </pc:sldChg>
      <pc:sldChg chg="delSp modSp">
        <pc:chgData name="KUDIPUDI SREE RAKHI" userId="S::kudipudi.sree@iitg.ac.in::1db2029c-b983-4e8d-867a-9d774e88250b" providerId="AD" clId="Web-{C55CAF1F-6516-D84C-B152-0D3F6177CC4C}" dt="2020-10-14T16:50:13.890" v="51" actId="1076"/>
        <pc:sldMkLst>
          <pc:docMk/>
          <pc:sldMk cId="1214773535" sldId="345"/>
        </pc:sldMkLst>
        <pc:spChg chg="mod">
          <ac:chgData name="KUDIPUDI SREE RAKHI" userId="S::kudipudi.sree@iitg.ac.in::1db2029c-b983-4e8d-867a-9d774e88250b" providerId="AD" clId="Web-{C55CAF1F-6516-D84C-B152-0D3F6177CC4C}" dt="2020-10-14T16:40:26.494" v="33" actId="1076"/>
          <ac:spMkLst>
            <pc:docMk/>
            <pc:sldMk cId="1214773535" sldId="345"/>
            <ac:spMk id="2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0:13.890" v="51" actId="1076"/>
          <ac:spMkLst>
            <pc:docMk/>
            <pc:sldMk cId="1214773535" sldId="345"/>
            <ac:spMk id="3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46:17.637" v="47" actId="1076"/>
          <ac:spMkLst>
            <pc:docMk/>
            <pc:sldMk cId="1214773535" sldId="345"/>
            <ac:spMk id="6" creationId="{00000000-0000-0000-0000-000000000000}"/>
          </ac:spMkLst>
        </pc:spChg>
        <pc:spChg chg="del">
          <ac:chgData name="KUDIPUDI SREE RAKHI" userId="S::kudipudi.sree@iitg.ac.in::1db2029c-b983-4e8d-867a-9d774e88250b" providerId="AD" clId="Web-{C55CAF1F-6516-D84C-B152-0D3F6177CC4C}" dt="2020-10-14T16:40:19.416" v="32"/>
          <ac:spMkLst>
            <pc:docMk/>
            <pc:sldMk cId="1214773535" sldId="345"/>
            <ac:spMk id="26" creationId="{87E40520-592C-4BDB-88E7-E4F751A9AD72}"/>
          </ac:spMkLst>
        </pc:spChg>
      </pc:sldChg>
      <pc:sldChg chg="modSp del">
        <pc:chgData name="KUDIPUDI SREE RAKHI" userId="S::kudipudi.sree@iitg.ac.in::1db2029c-b983-4e8d-867a-9d774e88250b" providerId="AD" clId="Web-{C55CAF1F-6516-D84C-B152-0D3F6177CC4C}" dt="2020-10-14T17:01:22.488" v="106"/>
        <pc:sldMkLst>
          <pc:docMk/>
          <pc:sldMk cId="4282987794" sldId="346"/>
        </pc:sldMkLst>
        <pc:spChg chg="mod">
          <ac:chgData name="KUDIPUDI SREE RAKHI" userId="S::kudipudi.sree@iitg.ac.in::1db2029c-b983-4e8d-867a-9d774e88250b" providerId="AD" clId="Web-{C55CAF1F-6516-D84C-B152-0D3F6177CC4C}" dt="2020-10-14T16:38:56.306" v="18" actId="1076"/>
          <ac:spMkLst>
            <pc:docMk/>
            <pc:sldMk cId="4282987794" sldId="346"/>
            <ac:spMk id="2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0:55.373" v="52" actId="1076"/>
          <ac:spMkLst>
            <pc:docMk/>
            <pc:sldMk cId="4282987794" sldId="346"/>
            <ac:spMk id="6" creationId="{F88EE471-ADB1-4FDD-8278-6EF1DBCDD06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2:18.546" v="75" actId="20577"/>
          <ac:spMkLst>
            <pc:docMk/>
            <pc:sldMk cId="4282987794" sldId="346"/>
            <ac:spMk id="16" creationId="{2E8F8394-90B9-4E13-BB1C-9F692BB89ACB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2:00.170" v="73" actId="1076"/>
          <ac:spMkLst>
            <pc:docMk/>
            <pc:sldMk cId="4282987794" sldId="346"/>
            <ac:spMk id="20" creationId="{5104858C-11F4-4C08-84AA-C06851DCFF87}"/>
          </ac:spMkLst>
        </pc:spChg>
        <pc:picChg chg="mod">
          <ac:chgData name="KUDIPUDI SREE RAKHI" userId="S::kudipudi.sree@iitg.ac.in::1db2029c-b983-4e8d-867a-9d774e88250b" providerId="AD" clId="Web-{C55CAF1F-6516-D84C-B152-0D3F6177CC4C}" dt="2020-10-14T16:52:03.624" v="74" actId="1076"/>
          <ac:picMkLst>
            <pc:docMk/>
            <pc:sldMk cId="4282987794" sldId="346"/>
            <ac:picMk id="9" creationId="{428C4574-A35F-4692-B96B-AC0832E07132}"/>
          </ac:picMkLst>
        </pc:picChg>
      </pc:sldChg>
      <pc:sldChg chg="delSp modSp">
        <pc:chgData name="KUDIPUDI SREE RAKHI" userId="S::kudipudi.sree@iitg.ac.in::1db2029c-b983-4e8d-867a-9d774e88250b" providerId="AD" clId="Web-{C55CAF1F-6516-D84C-B152-0D3F6177CC4C}" dt="2020-10-14T16:53:19" v="85" actId="20577"/>
        <pc:sldMkLst>
          <pc:docMk/>
          <pc:sldMk cId="2371590935" sldId="347"/>
        </pc:sldMkLst>
        <pc:spChg chg="mod">
          <ac:chgData name="KUDIPUDI SREE RAKHI" userId="S::kudipudi.sree@iitg.ac.in::1db2029c-b983-4e8d-867a-9d774e88250b" providerId="AD" clId="Web-{C55CAF1F-6516-D84C-B152-0D3F6177CC4C}" dt="2020-10-14T16:42:27.245" v="37" actId="1076"/>
          <ac:spMkLst>
            <pc:docMk/>
            <pc:sldMk cId="2371590935" sldId="347"/>
            <ac:spMk id="3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3:19" v="85" actId="20577"/>
          <ac:spMkLst>
            <pc:docMk/>
            <pc:sldMk cId="2371590935" sldId="347"/>
            <ac:spMk id="6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42:37.198" v="39" actId="1076"/>
          <ac:spMkLst>
            <pc:docMk/>
            <pc:sldMk cId="2371590935" sldId="347"/>
            <ac:spMk id="7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42:33.448" v="38" actId="1076"/>
          <ac:spMkLst>
            <pc:docMk/>
            <pc:sldMk cId="2371590935" sldId="347"/>
            <ac:spMk id="9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3:07.452" v="78" actId="20577"/>
          <ac:spMkLst>
            <pc:docMk/>
            <pc:sldMk cId="2371590935" sldId="347"/>
            <ac:spMk id="10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40:03.166" v="30" actId="1076"/>
          <ac:spMkLst>
            <pc:docMk/>
            <pc:sldMk cId="2371590935" sldId="347"/>
            <ac:spMk id="20" creationId="{D1C9AEA4-FA1C-4D20-A57F-8E2D3739B516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39:50.431" v="24" actId="20577"/>
          <ac:spMkLst>
            <pc:docMk/>
            <pc:sldMk cId="2371590935" sldId="347"/>
            <ac:spMk id="21" creationId="{BA1A462D-6DBF-4774-AD56-478B3B4F8D8E}"/>
          </ac:spMkLst>
        </pc:spChg>
        <pc:spChg chg="del mod">
          <ac:chgData name="KUDIPUDI SREE RAKHI" userId="S::kudipudi.sree@iitg.ac.in::1db2029c-b983-4e8d-867a-9d774e88250b" providerId="AD" clId="Web-{C55CAF1F-6516-D84C-B152-0D3F6177CC4C}" dt="2020-10-14T16:40:06.525" v="31"/>
          <ac:spMkLst>
            <pc:docMk/>
            <pc:sldMk cId="2371590935" sldId="347"/>
            <ac:spMk id="22" creationId="{F1FE66D4-0FD9-4B87-8583-926237FE4D8C}"/>
          </ac:spMkLst>
        </pc:spChg>
      </pc:sldChg>
      <pc:sldChg chg="modSp">
        <pc:chgData name="KUDIPUDI SREE RAKHI" userId="S::kudipudi.sree@iitg.ac.in::1db2029c-b983-4e8d-867a-9d774e88250b" providerId="AD" clId="Web-{C55CAF1F-6516-D84C-B152-0D3F6177CC4C}" dt="2020-10-14T16:57:38.080" v="92" actId="20577"/>
        <pc:sldMkLst>
          <pc:docMk/>
          <pc:sldMk cId="4210269477" sldId="348"/>
        </pc:sldMkLst>
        <pc:spChg chg="mod">
          <ac:chgData name="KUDIPUDI SREE RAKHI" userId="S::kudipudi.sree@iitg.ac.in::1db2029c-b983-4e8d-867a-9d774e88250b" providerId="AD" clId="Web-{C55CAF1F-6516-D84C-B152-0D3F6177CC4C}" dt="2020-10-14T16:38:34.337" v="16" actId="1076"/>
          <ac:spMkLst>
            <pc:docMk/>
            <pc:sldMk cId="4210269477" sldId="348"/>
            <ac:spMk id="2" creationId="{00000000-0000-0000-0000-000000000000}"/>
          </ac:spMkLst>
        </pc:spChg>
        <pc:spChg chg="mod">
          <ac:chgData name="KUDIPUDI SREE RAKHI" userId="S::kudipudi.sree@iitg.ac.in::1db2029c-b983-4e8d-867a-9d774e88250b" providerId="AD" clId="Web-{C55CAF1F-6516-D84C-B152-0D3F6177CC4C}" dt="2020-10-14T16:57:38.080" v="92" actId="20577"/>
          <ac:spMkLst>
            <pc:docMk/>
            <pc:sldMk cId="4210269477" sldId="348"/>
            <ac:spMk id="6" creationId="{F88EE471-ADB1-4FDD-8278-6EF1DBCDD060}"/>
          </ac:spMkLst>
        </pc:spChg>
      </pc:sldChg>
      <pc:sldChg chg="modSp">
        <pc:chgData name="KUDIPUDI SREE RAKHI" userId="S::kudipudi.sree@iitg.ac.in::1db2029c-b983-4e8d-867a-9d774e88250b" providerId="AD" clId="Web-{C55CAF1F-6516-D84C-B152-0D3F6177CC4C}" dt="2020-10-14T17:06:12.146" v="112" actId="20577"/>
        <pc:sldMkLst>
          <pc:docMk/>
          <pc:sldMk cId="3951974638" sldId="349"/>
        </pc:sldMkLst>
        <pc:spChg chg="mod">
          <ac:chgData name="KUDIPUDI SREE RAKHI" userId="S::kudipudi.sree@iitg.ac.in::1db2029c-b983-4e8d-867a-9d774e88250b" providerId="AD" clId="Web-{C55CAF1F-6516-D84C-B152-0D3F6177CC4C}" dt="2020-10-14T17:06:12.146" v="112" actId="20577"/>
          <ac:spMkLst>
            <pc:docMk/>
            <pc:sldMk cId="3951974638" sldId="349"/>
            <ac:spMk id="7" creationId="{DAAC4C8B-98EA-448E-AA64-91DE4403E04E}"/>
          </ac:spMkLst>
        </pc:spChg>
      </pc:sldChg>
    </pc:docChg>
  </pc:docChgLst>
  <pc:docChgLst>
    <pc:chgData name="ARYAN SINGH YADAV" userId="S::aryansingh@iitg.ac.in::33afd359-4278-457e-9e63-a5d24638fe49" providerId="AD" clId="Web-{3B651743-9B8B-25DB-F6F9-31A57AFF4C80}"/>
    <pc:docChg chg="addSld delSld modSld">
      <pc:chgData name="ARYAN SINGH YADAV" userId="S::aryansingh@iitg.ac.in::33afd359-4278-457e-9e63-a5d24638fe49" providerId="AD" clId="Web-{3B651743-9B8B-25DB-F6F9-31A57AFF4C80}" dt="2020-10-14T17:05:53.987" v="1788" actId="20577"/>
      <pc:docMkLst>
        <pc:docMk/>
      </pc:docMkLst>
      <pc:sldChg chg="addSp delSp modSp">
        <pc:chgData name="ARYAN SINGH YADAV" userId="S::aryansingh@iitg.ac.in::33afd359-4278-457e-9e63-a5d24638fe49" providerId="AD" clId="Web-{3B651743-9B8B-25DB-F6F9-31A57AFF4C80}" dt="2020-10-14T16:36:19.517" v="1496"/>
        <pc:sldMkLst>
          <pc:docMk/>
          <pc:sldMk cId="1014788700" sldId="257"/>
        </pc:sldMkLst>
        <pc:spChg chg="add mod">
          <ac:chgData name="ARYAN SINGH YADAV" userId="S::aryansingh@iitg.ac.in::33afd359-4278-457e-9e63-a5d24638fe49" providerId="AD" clId="Web-{3B651743-9B8B-25DB-F6F9-31A57AFF4C80}" dt="2020-10-14T16:36:19.517" v="1496"/>
          <ac:spMkLst>
            <pc:docMk/>
            <pc:sldMk cId="1014788700" sldId="257"/>
            <ac:spMk id="9" creationId="{BAE50304-64D6-4094-B02E-C0928CCE7CEC}"/>
          </ac:spMkLst>
        </pc:spChg>
        <pc:spChg chg="del">
          <ac:chgData name="ARYAN SINGH YADAV" userId="S::aryansingh@iitg.ac.in::33afd359-4278-457e-9e63-a5d24638fe49" providerId="AD" clId="Web-{3B651743-9B8B-25DB-F6F9-31A57AFF4C80}" dt="2020-10-14T16:36:19.517" v="1496"/>
          <ac:spMkLst>
            <pc:docMk/>
            <pc:sldMk cId="1014788700" sldId="257"/>
            <ac:spMk id="12" creationId="{00000000-0000-0000-0000-000000000000}"/>
          </ac:spMkLst>
        </pc:spChg>
      </pc:sldChg>
      <pc:sldChg chg="modSp">
        <pc:chgData name="ARYAN SINGH YADAV" userId="S::aryansingh@iitg.ac.in::33afd359-4278-457e-9e63-a5d24638fe49" providerId="AD" clId="Web-{3B651743-9B8B-25DB-F6F9-31A57AFF4C80}" dt="2020-10-14T16:37:06.737" v="1585" actId="20577"/>
        <pc:sldMkLst>
          <pc:docMk/>
          <pc:sldMk cId="1214773535" sldId="345"/>
        </pc:sldMkLst>
        <pc:spChg chg="mod">
          <ac:chgData name="ARYAN SINGH YADAV" userId="S::aryansingh@iitg.ac.in::33afd359-4278-457e-9e63-a5d24638fe49" providerId="AD" clId="Web-{3B651743-9B8B-25DB-F6F9-31A57AFF4C80}" dt="2020-10-14T16:36:38.846" v="1502" actId="20577"/>
          <ac:spMkLst>
            <pc:docMk/>
            <pc:sldMk cId="1214773535" sldId="345"/>
            <ac:spMk id="2" creationId="{00000000-0000-0000-0000-00000000000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37:06.737" v="1585" actId="20577"/>
          <ac:spMkLst>
            <pc:docMk/>
            <pc:sldMk cId="1214773535" sldId="345"/>
            <ac:spMk id="11" creationId="{00000000-0000-0000-0000-000000000000}"/>
          </ac:spMkLst>
        </pc:spChg>
      </pc:sldChg>
      <pc:sldChg chg="delSp modSp">
        <pc:chgData name="ARYAN SINGH YADAV" userId="S::aryansingh@iitg.ac.in::33afd359-4278-457e-9e63-a5d24638fe49" providerId="AD" clId="Web-{3B651743-9B8B-25DB-F6F9-31A57AFF4C80}" dt="2020-10-14T17:00:02.977" v="1764" actId="20577"/>
        <pc:sldMkLst>
          <pc:docMk/>
          <pc:sldMk cId="4282987794" sldId="346"/>
        </pc:sldMkLst>
        <pc:spChg chg="del mod">
          <ac:chgData name="ARYAN SINGH YADAV" userId="S::aryansingh@iitg.ac.in::33afd359-4278-457e-9e63-a5d24638fe49" providerId="AD" clId="Web-{3B651743-9B8B-25DB-F6F9-31A57AFF4C80}" dt="2020-10-14T16:37:28.410" v="1591"/>
          <ac:spMkLst>
            <pc:docMk/>
            <pc:sldMk cId="4282987794" sldId="346"/>
            <ac:spMk id="3" creationId="{00000000-0000-0000-0000-00000000000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38:40.256" v="1628" actId="1076"/>
          <ac:spMkLst>
            <pc:docMk/>
            <pc:sldMk cId="4282987794" sldId="346"/>
            <ac:spMk id="6" creationId="{F88EE471-ADB1-4FDD-8278-6EF1DBCDD06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7:00:02.977" v="1764" actId="20577"/>
          <ac:spMkLst>
            <pc:docMk/>
            <pc:sldMk cId="4282987794" sldId="346"/>
            <ac:spMk id="16" creationId="{2E8F8394-90B9-4E13-BB1C-9F692BB89ACB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58:31.334" v="1714" actId="20577"/>
          <ac:spMkLst>
            <pc:docMk/>
            <pc:sldMk cId="4282987794" sldId="346"/>
            <ac:spMk id="20" creationId="{5104858C-11F4-4C08-84AA-C06851DCFF87}"/>
          </ac:spMkLst>
        </pc:spChg>
        <pc:graphicFrameChg chg="del mod">
          <ac:chgData name="ARYAN SINGH YADAV" userId="S::aryansingh@iitg.ac.in::33afd359-4278-457e-9e63-a5d24638fe49" providerId="AD" clId="Web-{3B651743-9B8B-25DB-F6F9-31A57AFF4C80}" dt="2020-10-14T16:57:47.677" v="1702"/>
          <ac:graphicFrameMkLst>
            <pc:docMk/>
            <pc:sldMk cId="4282987794" sldId="346"/>
            <ac:graphicFrameMk id="19" creationId="{C6763ABA-888D-41DD-A1BD-DB84DD811C5F}"/>
          </ac:graphicFrameMkLst>
        </pc:graphicFrameChg>
        <pc:picChg chg="del">
          <ac:chgData name="ARYAN SINGH YADAV" userId="S::aryansingh@iitg.ac.in::33afd359-4278-457e-9e63-a5d24638fe49" providerId="AD" clId="Web-{3B651743-9B8B-25DB-F6F9-31A57AFF4C80}" dt="2020-10-14T16:57:40.521" v="1700"/>
          <ac:picMkLst>
            <pc:docMk/>
            <pc:sldMk cId="4282987794" sldId="346"/>
            <ac:picMk id="9" creationId="{428C4574-A35F-4692-B96B-AC0832E07132}"/>
          </ac:picMkLst>
        </pc:picChg>
      </pc:sldChg>
      <pc:sldChg chg="modSp">
        <pc:chgData name="ARYAN SINGH YADAV" userId="S::aryansingh@iitg.ac.in::33afd359-4278-457e-9e63-a5d24638fe49" providerId="AD" clId="Web-{3B651743-9B8B-25DB-F6F9-31A57AFF4C80}" dt="2020-10-14T17:05:35.408" v="1784" actId="20577"/>
        <pc:sldMkLst>
          <pc:docMk/>
          <pc:sldMk cId="2371590935" sldId="347"/>
        </pc:sldMkLst>
        <pc:spChg chg="mod">
          <ac:chgData name="ARYAN SINGH YADAV" userId="S::aryansingh@iitg.ac.in::33afd359-4278-457e-9e63-a5d24638fe49" providerId="AD" clId="Web-{3B651743-9B8B-25DB-F6F9-31A57AFF4C80}" dt="2020-10-14T17:05:35.408" v="1784" actId="20577"/>
          <ac:spMkLst>
            <pc:docMk/>
            <pc:sldMk cId="2371590935" sldId="347"/>
            <ac:spMk id="6" creationId="{00000000-0000-0000-0000-00000000000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51:15.073" v="1638" actId="20577"/>
          <ac:spMkLst>
            <pc:docMk/>
            <pc:sldMk cId="2371590935" sldId="347"/>
            <ac:spMk id="20" creationId="{D1C9AEA4-FA1C-4D20-A57F-8E2D3739B516}"/>
          </ac:spMkLst>
        </pc:spChg>
      </pc:sldChg>
      <pc:sldChg chg="addSp delSp modSp add del">
        <pc:chgData name="ARYAN SINGH YADAV" userId="S::aryansingh@iitg.ac.in::33afd359-4278-457e-9e63-a5d24638fe49" providerId="AD" clId="Web-{3B651743-9B8B-25DB-F6F9-31A57AFF4C80}" dt="2020-10-14T17:00:50.104" v="1781" actId="14100"/>
        <pc:sldMkLst>
          <pc:docMk/>
          <pc:sldMk cId="4210269477" sldId="348"/>
        </pc:sldMkLst>
        <pc:spChg chg="del mod">
          <ac:chgData name="ARYAN SINGH YADAV" userId="S::aryansingh@iitg.ac.in::33afd359-4278-457e-9e63-a5d24638fe49" providerId="AD" clId="Web-{3B651743-9B8B-25DB-F6F9-31A57AFF4C80}" dt="2020-10-14T16:37:54.473" v="1621"/>
          <ac:spMkLst>
            <pc:docMk/>
            <pc:sldMk cId="4210269477" sldId="348"/>
            <ac:spMk id="3" creationId="{00000000-0000-0000-0000-00000000000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38:27.880" v="1627" actId="1076"/>
          <ac:spMkLst>
            <pc:docMk/>
            <pc:sldMk cId="4210269477" sldId="348"/>
            <ac:spMk id="6" creationId="{F88EE471-ADB1-4FDD-8278-6EF1DBCDD060}"/>
          </ac:spMkLst>
        </pc:spChg>
        <pc:spChg chg="mod">
          <ac:chgData name="ARYAN SINGH YADAV" userId="S::aryansingh@iitg.ac.in::33afd359-4278-457e-9e63-a5d24638fe49" providerId="AD" clId="Web-{3B651743-9B8B-25DB-F6F9-31A57AFF4C80}" dt="2020-10-14T16:57:17.410" v="1697" actId="20577"/>
          <ac:spMkLst>
            <pc:docMk/>
            <pc:sldMk cId="4210269477" sldId="348"/>
            <ac:spMk id="7" creationId="{DAAC4C8B-98EA-448E-AA64-91DE4403E04E}"/>
          </ac:spMkLst>
        </pc:spChg>
        <pc:spChg chg="add mod">
          <ac:chgData name="ARYAN SINGH YADAV" userId="S::aryansingh@iitg.ac.in::33afd359-4278-457e-9e63-a5d24638fe49" providerId="AD" clId="Web-{3B651743-9B8B-25DB-F6F9-31A57AFF4C80}" dt="2020-10-14T16:59:51.571" v="1761" actId="20577"/>
          <ac:spMkLst>
            <pc:docMk/>
            <pc:sldMk cId="4210269477" sldId="348"/>
            <ac:spMk id="18" creationId="{7C644C77-124F-4FD5-991D-44E623217537}"/>
          </ac:spMkLst>
        </pc:spChg>
        <pc:spChg chg="add mod">
          <ac:chgData name="ARYAN SINGH YADAV" userId="S::aryansingh@iitg.ac.in::33afd359-4278-457e-9e63-a5d24638fe49" providerId="AD" clId="Web-{3B651743-9B8B-25DB-F6F9-31A57AFF4C80}" dt="2020-10-14T17:00:50.104" v="1781" actId="14100"/>
          <ac:spMkLst>
            <pc:docMk/>
            <pc:sldMk cId="4210269477" sldId="348"/>
            <ac:spMk id="19" creationId="{021882B7-7BEE-493C-9B8E-D9907502DEB3}"/>
          </ac:spMkLst>
        </pc:spChg>
        <pc:graphicFrameChg chg="del">
          <ac:chgData name="ARYAN SINGH YADAV" userId="S::aryansingh@iitg.ac.in::33afd359-4278-457e-9e63-a5d24638fe49" providerId="AD" clId="Web-{3B651743-9B8B-25DB-F6F9-31A57AFF4C80}" dt="2020-10-14T16:56:03.705" v="1642"/>
          <ac:graphicFrameMkLst>
            <pc:docMk/>
            <pc:sldMk cId="4210269477" sldId="348"/>
            <ac:graphicFrameMk id="16" creationId="{5A990CC0-45AE-4139-BE1C-98276E1D422F}"/>
          </ac:graphicFrameMkLst>
        </pc:graphicFrameChg>
        <pc:graphicFrameChg chg="add mod">
          <ac:chgData name="ARYAN SINGH YADAV" userId="S::aryansingh@iitg.ac.in::33afd359-4278-457e-9e63-a5d24638fe49" providerId="AD" clId="Web-{3B651743-9B8B-25DB-F6F9-31A57AFF4C80}" dt="2020-10-14T16:58:03.912" v="1707" actId="14100"/>
          <ac:graphicFrameMkLst>
            <pc:docMk/>
            <pc:sldMk cId="4210269477" sldId="348"/>
            <ac:graphicFrameMk id="17" creationId="{A6FB2D8C-CEA8-4E6C-A1A6-1797B02CC7DF}"/>
          </ac:graphicFrameMkLst>
        </pc:graphicFrameChg>
        <pc:picChg chg="add mod">
          <ac:chgData name="ARYAN SINGH YADAV" userId="S::aryansingh@iitg.ac.in::33afd359-4278-457e-9e63-a5d24638fe49" providerId="AD" clId="Web-{3B651743-9B8B-25DB-F6F9-31A57AFF4C80}" dt="2020-10-14T16:58:19.600" v="1710" actId="1076"/>
          <ac:picMkLst>
            <pc:docMk/>
            <pc:sldMk cId="4210269477" sldId="348"/>
            <ac:picMk id="9" creationId="{4D92E7BA-3AFB-4139-9092-FB3D379ECA1D}"/>
          </ac:picMkLst>
        </pc:picChg>
      </pc:sldChg>
      <pc:sldChg chg="modSp add replId">
        <pc:chgData name="ARYAN SINGH YADAV" userId="S::aryansingh@iitg.ac.in::33afd359-4278-457e-9e63-a5d24638fe49" providerId="AD" clId="Web-{3B651743-9B8B-25DB-F6F9-31A57AFF4C80}" dt="2020-10-14T17:05:49.893" v="1787" actId="20577"/>
        <pc:sldMkLst>
          <pc:docMk/>
          <pc:sldMk cId="3951974638" sldId="349"/>
        </pc:sldMkLst>
        <pc:spChg chg="mod">
          <ac:chgData name="ARYAN SINGH YADAV" userId="S::aryansingh@iitg.ac.in::33afd359-4278-457e-9e63-a5d24638fe49" providerId="AD" clId="Web-{3B651743-9B8B-25DB-F6F9-31A57AFF4C80}" dt="2020-10-14T17:05:49.893" v="1787" actId="20577"/>
          <ac:spMkLst>
            <pc:docMk/>
            <pc:sldMk cId="3951974638" sldId="349"/>
            <ac:spMk id="7" creationId="{DAAC4C8B-98EA-448E-AA64-91DE4403E04E}"/>
          </ac:spMkLst>
        </pc:spChg>
      </pc:sldChg>
    </pc:docChg>
  </pc:docChgLst>
  <pc:docChgLst>
    <pc:chgData name="KUDIPUDI SREE RAKHI" userId="1db2029c-b983-4e8d-867a-9d774e88250b" providerId="ADAL" clId="{9088582B-B555-403A-87F0-1143C4F9C5BA}"/>
    <pc:docChg chg="undo custSel modSld sldOrd">
      <pc:chgData name="KUDIPUDI SREE RAKHI" userId="1db2029c-b983-4e8d-867a-9d774e88250b" providerId="ADAL" clId="{9088582B-B555-403A-87F0-1143C4F9C5BA}" dt="2020-10-14T16:47:30.906" v="2225" actId="1076"/>
      <pc:docMkLst>
        <pc:docMk/>
      </pc:docMkLst>
      <pc:sldChg chg="ord">
        <pc:chgData name="KUDIPUDI SREE RAKHI" userId="1db2029c-b983-4e8d-867a-9d774e88250b" providerId="ADAL" clId="{9088582B-B555-403A-87F0-1143C4F9C5BA}" dt="2020-10-14T15:30:32.850" v="2215"/>
        <pc:sldMkLst>
          <pc:docMk/>
          <pc:sldMk cId="1014788700" sldId="257"/>
        </pc:sldMkLst>
      </pc:sldChg>
      <pc:sldChg chg="addSp delSp modSp mod setBg">
        <pc:chgData name="KUDIPUDI SREE RAKHI" userId="1db2029c-b983-4e8d-867a-9d774e88250b" providerId="ADAL" clId="{9088582B-B555-403A-87F0-1143C4F9C5BA}" dt="2020-10-14T16:47:25.582" v="2224" actId="1076"/>
        <pc:sldMkLst>
          <pc:docMk/>
          <pc:sldMk cId="4282987794" sldId="346"/>
        </pc:sldMkLst>
        <pc:spChg chg="mod">
          <ac:chgData name="KUDIPUDI SREE RAKHI" userId="1db2029c-b983-4e8d-867a-9d774e88250b" providerId="ADAL" clId="{9088582B-B555-403A-87F0-1143C4F9C5BA}" dt="2020-10-14T16:47:25.582" v="2224" actId="1076"/>
          <ac:spMkLst>
            <pc:docMk/>
            <pc:sldMk cId="4282987794" sldId="346"/>
            <ac:spMk id="6" creationId="{F88EE471-ADB1-4FDD-8278-6EF1DBCDD060}"/>
          </ac:spMkLst>
        </pc:spChg>
        <pc:spChg chg="mod">
          <ac:chgData name="KUDIPUDI SREE RAKHI" userId="1db2029c-b983-4e8d-867a-9d774e88250b" providerId="ADAL" clId="{9088582B-B555-403A-87F0-1143C4F9C5BA}" dt="2020-10-14T13:19:06.697" v="1868" actId="1076"/>
          <ac:spMkLst>
            <pc:docMk/>
            <pc:sldMk cId="4282987794" sldId="346"/>
            <ac:spMk id="20" creationId="{5104858C-11F4-4C08-84AA-C06851DCFF87}"/>
          </ac:spMkLst>
        </pc:spChg>
        <pc:spChg chg="add mod">
          <ac:chgData name="KUDIPUDI SREE RAKHI" userId="1db2029c-b983-4e8d-867a-9d774e88250b" providerId="ADAL" clId="{9088582B-B555-403A-87F0-1143C4F9C5BA}" dt="2020-10-14T13:19:24.508" v="1869" actId="1076"/>
          <ac:spMkLst>
            <pc:docMk/>
            <pc:sldMk cId="4282987794" sldId="346"/>
            <ac:spMk id="23" creationId="{EF994A15-A78A-4A70-A22E-C0B7484B8268}"/>
          </ac:spMkLst>
        </pc:spChg>
        <pc:graphicFrameChg chg="add mod">
          <ac:chgData name="KUDIPUDI SREE RAKHI" userId="1db2029c-b983-4e8d-867a-9d774e88250b" providerId="ADAL" clId="{9088582B-B555-403A-87F0-1143C4F9C5BA}" dt="2020-10-14T12:19:18.597" v="133"/>
          <ac:graphicFrameMkLst>
            <pc:docMk/>
            <pc:sldMk cId="4282987794" sldId="346"/>
            <ac:graphicFrameMk id="16" creationId="{5A990CC0-45AE-4139-BE1C-98276E1D422F}"/>
          </ac:graphicFrameMkLst>
        </pc:graphicFrameChg>
        <pc:graphicFrameChg chg="add del mod">
          <ac:chgData name="KUDIPUDI SREE RAKHI" userId="1db2029c-b983-4e8d-867a-9d774e88250b" providerId="ADAL" clId="{9088582B-B555-403A-87F0-1143C4F9C5BA}" dt="2020-10-14T11:49:26.749" v="30" actId="478"/>
          <ac:graphicFrameMkLst>
            <pc:docMk/>
            <pc:sldMk cId="4282987794" sldId="346"/>
            <ac:graphicFrameMk id="19" creationId="{FC840F01-B009-40CE-8B49-29A1839D2107}"/>
          </ac:graphicFrameMkLst>
        </pc:graphicFrameChg>
        <pc:graphicFrameChg chg="add del mod">
          <ac:chgData name="KUDIPUDI SREE RAKHI" userId="1db2029c-b983-4e8d-867a-9d774e88250b" providerId="ADAL" clId="{9088582B-B555-403A-87F0-1143C4F9C5BA}" dt="2020-10-14T12:17:59.739" v="131" actId="478"/>
          <ac:graphicFrameMkLst>
            <pc:docMk/>
            <pc:sldMk cId="4282987794" sldId="346"/>
            <ac:graphicFrameMk id="22" creationId="{A554A519-D37C-4A0E-9C03-2D983B79E48E}"/>
          </ac:graphicFrameMkLst>
        </pc:graphicFrameChg>
      </pc:sldChg>
      <pc:sldChg chg="modSp mod">
        <pc:chgData name="KUDIPUDI SREE RAKHI" userId="1db2029c-b983-4e8d-867a-9d774e88250b" providerId="ADAL" clId="{9088582B-B555-403A-87F0-1143C4F9C5BA}" dt="2020-10-14T15:06:15.969" v="2213" actId="20577"/>
        <pc:sldMkLst>
          <pc:docMk/>
          <pc:sldMk cId="2371590935" sldId="347"/>
        </pc:sldMkLst>
        <pc:spChg chg="mod">
          <ac:chgData name="KUDIPUDI SREE RAKHI" userId="1db2029c-b983-4e8d-867a-9d774e88250b" providerId="ADAL" clId="{9088582B-B555-403A-87F0-1143C4F9C5BA}" dt="2020-10-14T15:06:15.969" v="2213" actId="20577"/>
          <ac:spMkLst>
            <pc:docMk/>
            <pc:sldMk cId="2371590935" sldId="347"/>
            <ac:spMk id="6" creationId="{00000000-0000-0000-0000-000000000000}"/>
          </ac:spMkLst>
        </pc:spChg>
      </pc:sldChg>
      <pc:sldChg chg="addSp modSp mod">
        <pc:chgData name="KUDIPUDI SREE RAKHI" userId="1db2029c-b983-4e8d-867a-9d774e88250b" providerId="ADAL" clId="{9088582B-B555-403A-87F0-1143C4F9C5BA}" dt="2020-10-14T16:47:30.906" v="2225" actId="1076"/>
        <pc:sldMkLst>
          <pc:docMk/>
          <pc:sldMk cId="4210269477" sldId="348"/>
        </pc:sldMkLst>
        <pc:spChg chg="mod">
          <ac:chgData name="KUDIPUDI SREE RAKHI" userId="1db2029c-b983-4e8d-867a-9d774e88250b" providerId="ADAL" clId="{9088582B-B555-403A-87F0-1143C4F9C5BA}" dt="2020-10-14T16:47:30.906" v="2225" actId="1076"/>
          <ac:spMkLst>
            <pc:docMk/>
            <pc:sldMk cId="4210269477" sldId="348"/>
            <ac:spMk id="6" creationId="{F88EE471-ADB1-4FDD-8278-6EF1DBCDD060}"/>
          </ac:spMkLst>
        </pc:spChg>
        <pc:spChg chg="add mod">
          <ac:chgData name="KUDIPUDI SREE RAKHI" userId="1db2029c-b983-4e8d-867a-9d774e88250b" providerId="ADAL" clId="{9088582B-B555-403A-87F0-1143C4F9C5BA}" dt="2020-10-14T13:18:00.196" v="1855" actId="20577"/>
          <ac:spMkLst>
            <pc:docMk/>
            <pc:sldMk cId="4210269477" sldId="348"/>
            <ac:spMk id="7" creationId="{DAAC4C8B-98EA-448E-AA64-91DE4403E04E}"/>
          </ac:spMkLst>
        </pc:spChg>
        <pc:graphicFrameChg chg="mod">
          <ac:chgData name="KUDIPUDI SREE RAKHI" userId="1db2029c-b983-4e8d-867a-9d774e88250b" providerId="ADAL" clId="{9088582B-B555-403A-87F0-1143C4F9C5BA}" dt="2020-10-14T12:51:53.669" v="847" actId="20577"/>
          <ac:graphicFrameMkLst>
            <pc:docMk/>
            <pc:sldMk cId="4210269477" sldId="348"/>
            <ac:graphicFrameMk id="16" creationId="{5A990CC0-45AE-4139-BE1C-98276E1D422F}"/>
          </ac:graphicFrameMkLst>
        </pc:graphicFrameChg>
      </pc:sldChg>
    </pc:docChg>
  </pc:docChgLst>
  <pc:docChgLst>
    <pc:chgData name="KUDIPUDI SREE RAKHI" userId="S::kudipudi.sree@iitg.ac.in::1db2029c-b983-4e8d-867a-9d774e88250b" providerId="AD" clId="Web-{306B115B-766F-B2A2-9DCE-94A0469986B8}"/>
    <pc:docChg chg="modSld">
      <pc:chgData name="KUDIPUDI SREE RAKHI" userId="S::kudipudi.sree@iitg.ac.in::1db2029c-b983-4e8d-867a-9d774e88250b" providerId="AD" clId="Web-{306B115B-766F-B2A2-9DCE-94A0469986B8}" dt="2020-10-14T13:20:43.377" v="11" actId="20577"/>
      <pc:docMkLst>
        <pc:docMk/>
      </pc:docMkLst>
      <pc:sldChg chg="modSp">
        <pc:chgData name="KUDIPUDI SREE RAKHI" userId="S::kudipudi.sree@iitg.ac.in::1db2029c-b983-4e8d-867a-9d774e88250b" providerId="AD" clId="Web-{306B115B-766F-B2A2-9DCE-94A0469986B8}" dt="2020-10-14T13:20:16.610" v="1" actId="1076"/>
        <pc:sldMkLst>
          <pc:docMk/>
          <pc:sldMk cId="2371590935" sldId="347"/>
        </pc:sldMkLst>
        <pc:spChg chg="mod">
          <ac:chgData name="KUDIPUDI SREE RAKHI" userId="S::kudipudi.sree@iitg.ac.in::1db2029c-b983-4e8d-867a-9d774e88250b" providerId="AD" clId="Web-{306B115B-766F-B2A2-9DCE-94A0469986B8}" dt="2020-10-14T13:20:16.610" v="1" actId="1076"/>
          <ac:spMkLst>
            <pc:docMk/>
            <pc:sldMk cId="2371590935" sldId="347"/>
            <ac:spMk id="22" creationId="{F1FE66D4-0FD9-4B87-8583-926237FE4D8C}"/>
          </ac:spMkLst>
        </pc:spChg>
      </pc:sldChg>
      <pc:sldChg chg="modSp">
        <pc:chgData name="KUDIPUDI SREE RAKHI" userId="S::kudipudi.sree@iitg.ac.in::1db2029c-b983-4e8d-867a-9d774e88250b" providerId="AD" clId="Web-{306B115B-766F-B2A2-9DCE-94A0469986B8}" dt="2020-10-14T13:20:43.377" v="10" actId="20577"/>
        <pc:sldMkLst>
          <pc:docMk/>
          <pc:sldMk cId="4210269477" sldId="348"/>
        </pc:sldMkLst>
        <pc:spChg chg="mod">
          <ac:chgData name="KUDIPUDI SREE RAKHI" userId="S::kudipudi.sree@iitg.ac.in::1db2029c-b983-4e8d-867a-9d774e88250b" providerId="AD" clId="Web-{306B115B-766F-B2A2-9DCE-94A0469986B8}" dt="2020-10-14T13:20:43.377" v="10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  <pc:docChgLst>
    <pc:chgData name="KUDIPUDI SREE RAKHI" userId="S::kudipudi.sree@iitg.ac.in::1db2029c-b983-4e8d-867a-9d774e88250b" providerId="AD" clId="Web-{6894C397-FE49-A155-C498-09F683507827}"/>
    <pc:docChg chg="modSld">
      <pc:chgData name="KUDIPUDI SREE RAKHI" userId="S::kudipudi.sree@iitg.ac.in::1db2029c-b983-4e8d-867a-9d774e88250b" providerId="AD" clId="Web-{6894C397-FE49-A155-C498-09F683507827}" dt="2020-10-14T16:28:00.958" v="45" actId="20577"/>
      <pc:docMkLst>
        <pc:docMk/>
      </pc:docMkLst>
      <pc:sldChg chg="modSp">
        <pc:chgData name="KUDIPUDI SREE RAKHI" userId="S::kudipudi.sree@iitg.ac.in::1db2029c-b983-4e8d-867a-9d774e88250b" providerId="AD" clId="Web-{6894C397-FE49-A155-C498-09F683507827}" dt="2020-10-14T16:19:14.986" v="10" actId="20577"/>
        <pc:sldMkLst>
          <pc:docMk/>
          <pc:sldMk cId="2371590935" sldId="347"/>
        </pc:sldMkLst>
        <pc:spChg chg="mod">
          <ac:chgData name="KUDIPUDI SREE RAKHI" userId="S::kudipudi.sree@iitg.ac.in::1db2029c-b983-4e8d-867a-9d774e88250b" providerId="AD" clId="Web-{6894C397-FE49-A155-C498-09F683507827}" dt="2020-10-14T16:19:14.986" v="10" actId="20577"/>
          <ac:spMkLst>
            <pc:docMk/>
            <pc:sldMk cId="2371590935" sldId="347"/>
            <ac:spMk id="10" creationId="{00000000-0000-0000-0000-000000000000}"/>
          </ac:spMkLst>
        </pc:spChg>
        <pc:cxnChg chg="mod">
          <ac:chgData name="KUDIPUDI SREE RAKHI" userId="S::kudipudi.sree@iitg.ac.in::1db2029c-b983-4e8d-867a-9d774e88250b" providerId="AD" clId="Web-{6894C397-FE49-A155-C498-09F683507827}" dt="2020-10-14T16:19:00.330" v="0" actId="1076"/>
          <ac:cxnSpMkLst>
            <pc:docMk/>
            <pc:sldMk cId="2371590935" sldId="347"/>
            <ac:cxnSpMk id="5" creationId="{00000000-0000-0000-0000-000000000000}"/>
          </ac:cxnSpMkLst>
        </pc:cxnChg>
      </pc:sldChg>
      <pc:sldChg chg="modSp">
        <pc:chgData name="KUDIPUDI SREE RAKHI" userId="S::kudipudi.sree@iitg.ac.in::1db2029c-b983-4e8d-867a-9d774e88250b" providerId="AD" clId="Web-{6894C397-FE49-A155-C498-09F683507827}" dt="2020-10-14T16:28:00.958" v="44" actId="20577"/>
        <pc:sldMkLst>
          <pc:docMk/>
          <pc:sldMk cId="4210269477" sldId="348"/>
        </pc:sldMkLst>
        <pc:spChg chg="mod">
          <ac:chgData name="KUDIPUDI SREE RAKHI" userId="S::kudipudi.sree@iitg.ac.in::1db2029c-b983-4e8d-867a-9d774e88250b" providerId="AD" clId="Web-{6894C397-FE49-A155-C498-09F683507827}" dt="2020-10-14T16:28:00.958" v="44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  <pc:docChgLst>
    <pc:chgData name="SHIKSHANSHU SHEKHAR JHA" userId="S::shikshanshu.shekhar@iitg.ac.in::ce79eeb6-ec57-46c1-b783-21548db7a705" providerId="AD" clId="Web-{11E9FECE-4CFE-6754-8508-89020AAB67CD}"/>
    <pc:docChg chg="modSld">
      <pc:chgData name="SHIKSHANSHU SHEKHAR JHA" userId="S::shikshanshu.shekhar@iitg.ac.in::ce79eeb6-ec57-46c1-b783-21548db7a705" providerId="AD" clId="Web-{11E9FECE-4CFE-6754-8508-89020AAB67CD}" dt="2020-10-14T16:35:31.425" v="5750" actId="20577"/>
      <pc:docMkLst>
        <pc:docMk/>
      </pc:docMkLst>
      <pc:sldChg chg="addSp delSp modSp">
        <pc:chgData name="SHIKSHANSHU SHEKHAR JHA" userId="S::shikshanshu.shekhar@iitg.ac.in::ce79eeb6-ec57-46c1-b783-21548db7a705" providerId="AD" clId="Web-{11E9FECE-4CFE-6754-8508-89020AAB67CD}" dt="2020-10-14T15:59:05.188" v="2367" actId="1076"/>
        <pc:sldMkLst>
          <pc:docMk/>
          <pc:sldMk cId="1214773535" sldId="345"/>
        </pc:sldMkLst>
        <pc:spChg chg="mod">
          <ac:chgData name="SHIKSHANSHU SHEKHAR JHA" userId="S::shikshanshu.shekhar@iitg.ac.in::ce79eeb6-ec57-46c1-b783-21548db7a705" providerId="AD" clId="Web-{11E9FECE-4CFE-6754-8508-89020AAB67CD}" dt="2020-10-14T15:59:05.188" v="2367" actId="1076"/>
          <ac:spMkLst>
            <pc:docMk/>
            <pc:sldMk cId="1214773535" sldId="345"/>
            <ac:spMk id="3" creationId="{00000000-0000-0000-0000-000000000000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06:42.836" v="250" actId="20577"/>
          <ac:spMkLst>
            <pc:docMk/>
            <pc:sldMk cId="1214773535" sldId="345"/>
            <ac:spMk id="13" creationId="{253F0B00-9F09-407D-90AA-438E86AE5AF4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11:07.514" v="637" actId="20577"/>
          <ac:spMkLst>
            <pc:docMk/>
            <pc:sldMk cId="1214773535" sldId="345"/>
            <ac:spMk id="14" creationId="{71E54C86-6854-4699-B6D5-86671A62F66B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16:07.067" v="1375" actId="20577"/>
          <ac:spMkLst>
            <pc:docMk/>
            <pc:sldMk cId="1214773535" sldId="345"/>
            <ac:spMk id="19" creationId="{F338D89C-81C1-4FD2-8471-A53E29D312B4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18:33.055" v="1545" actId="20577"/>
          <ac:spMkLst>
            <pc:docMk/>
            <pc:sldMk cId="1214773535" sldId="345"/>
            <ac:spMk id="20" creationId="{AF66A15C-6782-4573-A28D-CD3F5B7D4D05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20:18.042" v="1808" actId="20577"/>
          <ac:spMkLst>
            <pc:docMk/>
            <pc:sldMk cId="1214773535" sldId="345"/>
            <ac:spMk id="21" creationId="{7A112B2D-448D-4D90-B131-083EC9344944}"/>
          </ac:spMkLst>
        </pc:spChg>
        <pc:spChg chg="add del mod">
          <ac:chgData name="SHIKSHANSHU SHEKHAR JHA" userId="S::shikshanshu.shekhar@iitg.ac.in::ce79eeb6-ec57-46c1-b783-21548db7a705" providerId="AD" clId="Web-{11E9FECE-4CFE-6754-8508-89020AAB67CD}" dt="2020-10-14T15:16:36.584" v="1440"/>
          <ac:spMkLst>
            <pc:docMk/>
            <pc:sldMk cId="1214773535" sldId="345"/>
            <ac:spMk id="27" creationId="{39C2523E-7DF1-4E76-A5F4-F706E5160171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17:23.710" v="1508" actId="20577"/>
          <ac:spMkLst>
            <pc:docMk/>
            <pc:sldMk cId="1214773535" sldId="345"/>
            <ac:spMk id="28" creationId="{D4E11422-48EC-4FBA-9226-866B3A99D93E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18:41.555" v="1564" actId="20577"/>
          <ac:spMkLst>
            <pc:docMk/>
            <pc:sldMk cId="1214773535" sldId="345"/>
            <ac:spMk id="29" creationId="{57BE0458-F1ED-4F59-BE4F-E99F957DC8E5}"/>
          </ac:spMkLst>
        </pc:spChg>
      </pc:sldChg>
      <pc:sldChg chg="addSp delSp modSp">
        <pc:chgData name="SHIKSHANSHU SHEKHAR JHA" userId="S::shikshanshu.shekhar@iitg.ac.in::ce79eeb6-ec57-46c1-b783-21548db7a705" providerId="AD" clId="Web-{11E9FECE-4CFE-6754-8508-89020AAB67CD}" dt="2020-10-14T16:05:14.962" v="2902" actId="1076"/>
        <pc:sldMkLst>
          <pc:docMk/>
          <pc:sldMk cId="4282987794" sldId="346"/>
        </pc:sldMkLst>
        <pc:spChg chg="add mod">
          <ac:chgData name="SHIKSHANSHU SHEKHAR JHA" userId="S::shikshanshu.shekhar@iitg.ac.in::ce79eeb6-ec57-46c1-b783-21548db7a705" providerId="AD" clId="Web-{11E9FECE-4CFE-6754-8508-89020AAB67CD}" dt="2020-10-14T16:05:14.962" v="2902" actId="1076"/>
          <ac:spMkLst>
            <pc:docMk/>
            <pc:sldMk cId="4282987794" sldId="346"/>
            <ac:spMk id="16" creationId="{2E8F8394-90B9-4E13-BB1C-9F692BB89ACB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52:39.023" v="2321" actId="1076"/>
          <ac:spMkLst>
            <pc:docMk/>
            <pc:sldMk cId="4282987794" sldId="346"/>
            <ac:spMk id="20" creationId="{5104858C-11F4-4C08-84AA-C06851DCFF87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5:23:54.578" v="1930" actId="20577"/>
          <ac:spMkLst>
            <pc:docMk/>
            <pc:sldMk cId="4282987794" sldId="346"/>
            <ac:spMk id="23" creationId="{EF994A15-A78A-4A70-A22E-C0B7484B8268}"/>
          </ac:spMkLst>
        </pc:spChg>
        <pc:graphicFrameChg chg="mod">
          <ac:chgData name="SHIKSHANSHU SHEKHAR JHA" userId="S::shikshanshu.shekhar@iitg.ac.in::ce79eeb6-ec57-46c1-b783-21548db7a705" providerId="AD" clId="Web-{11E9FECE-4CFE-6754-8508-89020AAB67CD}" dt="2020-10-14T15:40:18.131" v="2302" actId="14100"/>
          <ac:graphicFrameMkLst>
            <pc:docMk/>
            <pc:sldMk cId="4282987794" sldId="346"/>
            <ac:graphicFrameMk id="19" creationId="{C6763ABA-888D-41DD-A1BD-DB84DD811C5F}"/>
          </ac:graphicFrameMkLst>
        </pc:graphicFrameChg>
        <pc:picChg chg="add del mod">
          <ac:chgData name="SHIKSHANSHU SHEKHAR JHA" userId="S::shikshanshu.shekhar@iitg.ac.in::ce79eeb6-ec57-46c1-b783-21548db7a705" providerId="AD" clId="Web-{11E9FECE-4CFE-6754-8508-89020AAB67CD}" dt="2020-10-14T15:52:08.569" v="2316"/>
          <ac:picMkLst>
            <pc:docMk/>
            <pc:sldMk cId="4282987794" sldId="346"/>
            <ac:picMk id="7" creationId="{A142905C-9FD9-4B70-ADB8-226298EC0B83}"/>
          </ac:picMkLst>
        </pc:picChg>
        <pc:picChg chg="add mod">
          <ac:chgData name="SHIKSHANSHU SHEKHAR JHA" userId="S::shikshanshu.shekhar@iitg.ac.in::ce79eeb6-ec57-46c1-b783-21548db7a705" providerId="AD" clId="Web-{11E9FECE-4CFE-6754-8508-89020AAB67CD}" dt="2020-10-14T15:52:59.539" v="2328" actId="14100"/>
          <ac:picMkLst>
            <pc:docMk/>
            <pc:sldMk cId="4282987794" sldId="346"/>
            <ac:picMk id="9" creationId="{428C4574-A35F-4692-B96B-AC0832E07132}"/>
          </ac:picMkLst>
        </pc:picChg>
      </pc:sldChg>
      <pc:sldChg chg="modSp">
        <pc:chgData name="SHIKSHANSHU SHEKHAR JHA" userId="S::shikshanshu.shekhar@iitg.ac.in::ce79eeb6-ec57-46c1-b783-21548db7a705" providerId="AD" clId="Web-{11E9FECE-4CFE-6754-8508-89020AAB67CD}" dt="2020-10-14T16:35:29.988" v="5748" actId="20577"/>
        <pc:sldMkLst>
          <pc:docMk/>
          <pc:sldMk cId="2371590935" sldId="347"/>
        </pc:sldMkLst>
        <pc:spChg chg="mod">
          <ac:chgData name="SHIKSHANSHU SHEKHAR JHA" userId="S::shikshanshu.shekhar@iitg.ac.in::ce79eeb6-ec57-46c1-b783-21548db7a705" providerId="AD" clId="Web-{11E9FECE-4CFE-6754-8508-89020AAB67CD}" dt="2020-10-14T16:22:54.783" v="3548" actId="20577"/>
          <ac:spMkLst>
            <pc:docMk/>
            <pc:sldMk cId="2371590935" sldId="347"/>
            <ac:spMk id="6" creationId="{00000000-0000-0000-0000-000000000000}"/>
          </ac:spMkLst>
        </pc:spChg>
        <pc:spChg chg="mod">
          <ac:chgData name="SHIKSHANSHU SHEKHAR JHA" userId="S::shikshanshu.shekhar@iitg.ac.in::ce79eeb6-ec57-46c1-b783-21548db7a705" providerId="AD" clId="Web-{11E9FECE-4CFE-6754-8508-89020AAB67CD}" dt="2020-10-14T16:35:29.988" v="5748" actId="20577"/>
          <ac:spMkLst>
            <pc:docMk/>
            <pc:sldMk cId="2371590935" sldId="347"/>
            <ac:spMk id="10" creationId="{00000000-0000-0000-0000-000000000000}"/>
          </ac:spMkLst>
        </pc:spChg>
      </pc:sldChg>
      <pc:sldChg chg="modSp">
        <pc:chgData name="SHIKSHANSHU SHEKHAR JHA" userId="S::shikshanshu.shekhar@iitg.ac.in::ce79eeb6-ec57-46c1-b783-21548db7a705" providerId="AD" clId="Web-{11E9FECE-4CFE-6754-8508-89020AAB67CD}" dt="2020-10-14T16:22:02.438" v="3539" actId="20577"/>
        <pc:sldMkLst>
          <pc:docMk/>
          <pc:sldMk cId="4210269477" sldId="348"/>
        </pc:sldMkLst>
        <pc:spChg chg="mod">
          <ac:chgData name="SHIKSHANSHU SHEKHAR JHA" userId="S::shikshanshu.shekhar@iitg.ac.in::ce79eeb6-ec57-46c1-b783-21548db7a705" providerId="AD" clId="Web-{11E9FECE-4CFE-6754-8508-89020AAB67CD}" dt="2020-10-14T16:22:02.438" v="3539" actId="20577"/>
          <ac:spMkLst>
            <pc:docMk/>
            <pc:sldMk cId="4210269477" sldId="348"/>
            <ac:spMk id="7" creationId="{DAAC4C8B-98EA-448E-AA64-91DE4403E04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5C_FAF39D2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5D_EB8E58EE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600">
                <a:solidFill>
                  <a:schemeClr val="tx2">
                    <a:lumMod val="75000"/>
                  </a:schemeClr>
                </a:solidFill>
              </a:rPr>
              <a:t>Average</a:t>
            </a:r>
            <a:r>
              <a:rPr lang="en-IN" sz="1600" baseline="0">
                <a:solidFill>
                  <a:schemeClr val="tx2">
                    <a:lumMod val="75000"/>
                  </a:schemeClr>
                </a:solidFill>
              </a:rPr>
              <a:t> no. of items per person daily</a:t>
            </a:r>
            <a:endParaRPr lang="en-IN" sz="1600">
              <a:solidFill>
                <a:schemeClr val="tx2">
                  <a:lumMod val="7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fore Re-Launch</c:v>
                </c:pt>
              </c:strCache>
            </c:strRef>
          </c:tx>
          <c:spPr>
            <a:ln w="22225" cap="rnd" cmpd="sng" algn="ctr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19</c:v>
                </c:pt>
                <c:pt idx="1">
                  <c:v>1.37</c:v>
                </c:pt>
                <c:pt idx="2">
                  <c:v>1.36</c:v>
                </c:pt>
                <c:pt idx="3">
                  <c:v>1.3</c:v>
                </c:pt>
                <c:pt idx="4">
                  <c:v>1.2</c:v>
                </c:pt>
                <c:pt idx="5">
                  <c:v>1.2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79D-4D9B-9744-E3679CCF83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fter Re-Launch</c:v>
                </c:pt>
              </c:strCache>
            </c:strRef>
          </c:tx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95</c:v>
                </c:pt>
                <c:pt idx="1">
                  <c:v>1.03</c:v>
                </c:pt>
                <c:pt idx="2">
                  <c:v>1.04</c:v>
                </c:pt>
                <c:pt idx="3">
                  <c:v>1.03</c:v>
                </c:pt>
                <c:pt idx="4">
                  <c:v>0.74</c:v>
                </c:pt>
                <c:pt idx="5">
                  <c:v>0.61399999999999999</c:v>
                </c:pt>
                <c:pt idx="6">
                  <c:v>0.777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9D-4D9B-9744-E3679CCF835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 w="22225" cap="rnd" cmpd="sng" algn="ctr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9D-4D9B-9744-E3679CCF83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506937720"/>
        <c:axId val="506943800"/>
      </c:lineChart>
      <c:catAx>
        <c:axId val="506937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943800"/>
        <c:crosses val="autoZero"/>
        <c:auto val="1"/>
        <c:lblAlgn val="ctr"/>
        <c:lblOffset val="100"/>
        <c:noMultiLvlLbl val="0"/>
      </c:catAx>
      <c:valAx>
        <c:axId val="506943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937720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Average revenue per item (EUR)</a:t>
            </a:r>
          </a:p>
        </c:rich>
      </c:tx>
      <c:layout>
        <c:manualLayout>
          <c:xMode val="edge"/>
          <c:yMode val="edge"/>
          <c:x val="2.5944756658949275E-3"/>
          <c:y val="2.07762633644950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289190862299486"/>
          <c:y val="0.26898729497287116"/>
          <c:w val="0.61988026631948767"/>
          <c:h val="0.6384060465544269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fore relaunch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 Monday</c:v>
                </c:pt>
                <c:pt idx="1">
                  <c:v> Tuesday</c:v>
                </c:pt>
                <c:pt idx="2">
                  <c:v> 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.2</c:v>
                </c:pt>
                <c:pt idx="1">
                  <c:v>4.01</c:v>
                </c:pt>
                <c:pt idx="2">
                  <c:v>4.26</c:v>
                </c:pt>
                <c:pt idx="3">
                  <c:v>4.26</c:v>
                </c:pt>
                <c:pt idx="4">
                  <c:v>4.5599999999999996</c:v>
                </c:pt>
                <c:pt idx="5">
                  <c:v>4.8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8B-4196-A79D-DDE192E69A1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fter relaunch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 Monday</c:v>
                </c:pt>
                <c:pt idx="1">
                  <c:v> Tuesday</c:v>
                </c:pt>
                <c:pt idx="2">
                  <c:v> 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.55</c:v>
                </c:pt>
                <c:pt idx="1">
                  <c:v>3.62</c:v>
                </c:pt>
                <c:pt idx="2">
                  <c:v>3.81</c:v>
                </c:pt>
                <c:pt idx="3">
                  <c:v>4.24</c:v>
                </c:pt>
                <c:pt idx="4">
                  <c:v>4.59</c:v>
                </c:pt>
                <c:pt idx="5">
                  <c:v>5.67</c:v>
                </c:pt>
                <c:pt idx="6">
                  <c:v>4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8B-4196-A79D-DDE192E69A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verage of all days Before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 Monday</c:v>
                </c:pt>
                <c:pt idx="1">
                  <c:v> Tuesday</c:v>
                </c:pt>
                <c:pt idx="2">
                  <c:v> 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4.3499999999999996</c:v>
                </c:pt>
                <c:pt idx="1">
                  <c:v>4.3499999999999996</c:v>
                </c:pt>
                <c:pt idx="2">
                  <c:v>4.3499999999999996</c:v>
                </c:pt>
                <c:pt idx="3">
                  <c:v>4.3499999999999996</c:v>
                </c:pt>
                <c:pt idx="4">
                  <c:v>4.3499999999999996</c:v>
                </c:pt>
                <c:pt idx="5">
                  <c:v>4.3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98B-4196-A79D-DDE192E69A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verage of all days After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 Monday</c:v>
                </c:pt>
                <c:pt idx="1">
                  <c:v> Tuesday</c:v>
                </c:pt>
                <c:pt idx="2">
                  <c:v> 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  <c:pt idx="0">
                  <c:v>3.64</c:v>
                </c:pt>
                <c:pt idx="1">
                  <c:v>3.64</c:v>
                </c:pt>
                <c:pt idx="2">
                  <c:v>3.64</c:v>
                </c:pt>
                <c:pt idx="3">
                  <c:v>3.64</c:v>
                </c:pt>
                <c:pt idx="4">
                  <c:v>3.64</c:v>
                </c:pt>
                <c:pt idx="5">
                  <c:v>3.64</c:v>
                </c:pt>
                <c:pt idx="6">
                  <c:v>3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8B-4196-A79D-DDE192E69A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4366672"/>
        <c:axId val="392803504"/>
      </c:radarChart>
      <c:catAx>
        <c:axId val="39436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2803504"/>
        <c:crosses val="autoZero"/>
        <c:auto val="1"/>
        <c:lblAlgn val="ctr"/>
        <c:lblOffset val="100"/>
        <c:noMultiLvlLbl val="0"/>
      </c:catAx>
      <c:valAx>
        <c:axId val="392803504"/>
        <c:scaling>
          <c:orientation val="minMax"/>
          <c:min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436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11210210523548338"/>
          <c:w val="1"/>
          <c:h val="0.102849182849199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A3CC7-4471-4507-AB40-3724D19237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46386E-4B6E-4F06-BE58-9F4198DAA1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077C75-A85D-4018-9975-D95FCB2C2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966457-3EBD-4924-9BE2-14DA475DA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93E74A-7442-4944-995E-AFD07E37D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15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AA32B-431A-4CFD-8338-A629E7D5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953149-E23C-4256-9F51-6F39816A3A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64C6E5-2CD2-4599-AAE4-D847783B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7D3E4-0A60-49CE-A4A1-B5ACCD47D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2500DF-A9AB-47F7-946E-E87F491B6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561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717406-3A91-458F-9AC2-E4D6808A1DB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551489-E772-430B-9BFC-C27B6D3FDC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B52EBF-8DC1-4566-AF1B-4B4B8A6898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58EF9C-6974-4A4E-9752-2A299C2C4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B6127-8AEB-47D8-9DDB-93A9F19A8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1041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842110" y="3246438"/>
            <a:ext cx="5253892" cy="404812"/>
          </a:xfrm>
          <a:prstGeom prst="rect">
            <a:avLst/>
          </a:prstGeom>
        </p:spPr>
        <p:txBody>
          <a:bodyPr lIns="0" anchor="b"/>
          <a:lstStyle>
            <a:lvl1pPr algn="l">
              <a:defRPr sz="26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2110" y="4054478"/>
            <a:ext cx="5253892" cy="277813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ct val="0"/>
              </a:spcBef>
              <a:buSzTx/>
              <a:buFontTx/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07793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w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41762" y="1268413"/>
            <a:ext cx="11375101" cy="4897437"/>
          </a:xfrm>
          <a:prstGeom prst="rect">
            <a:avLst/>
          </a:prstGeom>
        </p:spPr>
        <p:txBody>
          <a:bodyPr>
            <a:normAutofit/>
          </a:bodyPr>
          <a:lstStyle>
            <a:lvl1pPr marL="182563" indent="-182563">
              <a:defRPr sz="1400">
                <a:latin typeface="Cambria" panose="02040503050406030204" pitchFamily="18" charset="0"/>
              </a:defRPr>
            </a:lvl1pPr>
            <a:lvl2pPr marL="352425" indent="-169863">
              <a:defRPr sz="1200">
                <a:latin typeface="Cambria" panose="02040503050406030204" pitchFamily="18" charset="0"/>
              </a:defRPr>
            </a:lvl2pPr>
            <a:lvl3pPr marL="627063" indent="-274638">
              <a:buFont typeface="Courier New" panose="02070309020205020404" pitchFamily="49" charset="0"/>
              <a:buChar char="o"/>
              <a:defRPr sz="1200">
                <a:latin typeface="Cambria" panose="02040503050406030204" pitchFamily="18" charset="0"/>
              </a:defRPr>
            </a:lvl3pPr>
            <a:lvl4pPr>
              <a:defRPr sz="1050">
                <a:latin typeface="Cambria" panose="02040503050406030204" pitchFamily="18" charset="0"/>
              </a:defRPr>
            </a:lvl4pPr>
            <a:lvl5pPr>
              <a:defRPr sz="1050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1337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5309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140" y="304800"/>
            <a:ext cx="11440800" cy="29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41762" y="1268413"/>
            <a:ext cx="11375101" cy="4897437"/>
          </a:xfrm>
          <a:prstGeom prst="rect">
            <a:avLst/>
          </a:prstGeom>
        </p:spPr>
        <p:txBody>
          <a:bodyPr>
            <a:normAutofit/>
          </a:bodyPr>
          <a:lstStyle>
            <a:lvl1pPr marL="182563" indent="-182563">
              <a:defRPr sz="1400">
                <a:latin typeface="Cambria" panose="02040503050406030204" pitchFamily="18" charset="0"/>
              </a:defRPr>
            </a:lvl1pPr>
            <a:lvl2pPr marL="352425" indent="-169863">
              <a:defRPr sz="1200">
                <a:latin typeface="Cambria" panose="02040503050406030204" pitchFamily="18" charset="0"/>
              </a:defRPr>
            </a:lvl2pPr>
            <a:lvl3pPr marL="627063" indent="-274638">
              <a:buFont typeface="Courier New" panose="02070309020205020404" pitchFamily="49" charset="0"/>
              <a:buChar char="o"/>
              <a:defRPr sz="1200">
                <a:latin typeface="Cambria" panose="02040503050406030204" pitchFamily="18" charset="0"/>
              </a:defRPr>
            </a:lvl3pPr>
            <a:lvl4pPr>
              <a:defRPr sz="1050">
                <a:latin typeface="Cambria" panose="02040503050406030204" pitchFamily="18" charset="0"/>
              </a:defRPr>
            </a:lvl4pPr>
            <a:lvl5pPr>
              <a:defRPr sz="1050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55747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687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89164" y="6308092"/>
            <a:ext cx="11442700" cy="144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900">
                <a:latin typeface="Cambria" panose="02040503050406030204" pitchFamily="18" charset="0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60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 userDrawn="1"/>
        </p:nvSpPr>
        <p:spPr>
          <a:xfrm>
            <a:off x="152400" y="152400"/>
            <a:ext cx="11811000" cy="6553200"/>
          </a:xfrm>
          <a:prstGeom prst="roundRect">
            <a:avLst>
              <a:gd name="adj" fmla="val 122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8144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5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504084" y="6480176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B3B8947-1A47-4832-ADC2-F6EAC4EBD69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5471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525344"/>
            <a:ext cx="12192000" cy="3292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11" tIns="45706" rIns="91411" bIns="45706" rtlCol="0" anchor="ctr"/>
          <a:lstStyle/>
          <a:p>
            <a:pPr algn="ctr" defTabSz="914109"/>
            <a:endParaRPr lang="lt-LT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188640"/>
            <a:ext cx="11617291" cy="720080"/>
          </a:xfrm>
        </p:spPr>
        <p:txBody>
          <a:bodyPr/>
          <a:lstStyle>
            <a:lvl1pPr>
              <a:defRPr sz="2000">
                <a:solidFill>
                  <a:schemeClr val="tx2">
                    <a:lumMod val="75000"/>
                  </a:schemeClr>
                </a:solidFill>
                <a:latin typeface="Cambria" pitchFamily="18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8" name="TextBox 7"/>
          <p:cNvSpPr txBox="1"/>
          <p:nvPr userDrawn="1"/>
        </p:nvSpPr>
        <p:spPr>
          <a:xfrm>
            <a:off x="11653944" y="6567155"/>
            <a:ext cx="372159" cy="276971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fld id="{AFCA24B0-E69E-4D35-A12E-C80DC59BE3CC}" type="slidenum">
              <a:rPr lang="en-US" sz="120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pPr defTabSz="914109"/>
              <a:t>‹#›</a:t>
            </a:fld>
            <a:endParaRPr lang="lt-LT" sz="120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919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0D2DA-764E-48E2-AA53-881ED337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3CBCFA-928A-4B2D-8F40-0377AE658A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1D2582-727C-43B4-9C90-F12C13669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86FDD-CE74-4D74-B715-EC69B2345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7D4819-9431-47AA-A637-91C612CDC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433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BE4CD-307B-4175-B2B3-DE74BDE65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5A6D19-736F-4A14-AC1B-C0F1C1430D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71617B-55E4-4FA4-85FA-362BE9D73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3EB72-F5B0-4E2B-B339-7FAA548D7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DB5AED-4AC1-4151-8CEA-A811E1D5A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445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E9BC7-AED2-4053-9E1A-FEFFC679B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47B10-3EB5-44EA-BA66-0C24420857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65AFE2-CF9B-4196-BB33-E7825F2CF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94838E-F512-4FCD-A545-62EF9FAAE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32CF28-875F-4FEB-A4EA-DE30C1CBC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AAC494-7B35-4E4C-842B-C1087D26E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166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73290-6A4F-4AEC-B363-D1D5A9954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E23F6B-ADE5-4C46-866B-7E26853CC6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ABE634-32F7-4E98-A3D9-DA31EB5010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3208A5-4704-4E7A-9620-8428DD8E52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D0D74C-7D91-4914-BE06-AE967357B4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730FEC-C51A-4EE4-AB59-69A269B6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F8E134-C1CE-4A42-91D1-D31B51A24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E7A3C6-4179-4091-9615-75A83C50F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896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C0691-FED7-4D02-9CCA-CB433CF48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5891D3-B7D7-4103-B700-9ABA87B66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566466-6701-4A1D-B6FC-DC40507A5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3633DF-506C-4075-A463-37423B1C1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98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EB83B-7F6A-4576-B894-D90C07005A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B079D1-ADF6-4729-B004-5C2AB9269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6C5ABA-1DF2-41B7-AED2-009A704C4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884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BB6B7-B6E8-4A75-ADC0-BC7E2589B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9166AD-0007-4584-A9C1-F237942973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68C9E-FD64-482A-9D5E-17AC32201B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4710D8-7993-4CAE-AE9B-693FB62E9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F7711F-6D90-4937-BEFF-7001A968F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C07DCF-FA1A-4FDF-ADB9-DBDEB2A75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541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B193B-B04A-44BE-8AC6-51A1D22B38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1896A6-C3EA-44D0-BDFE-2C5430F399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81C279-9407-4F1D-A5AC-4CCE5BDC8D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E271BA-56AF-4758-ACBE-95D2FF3E6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3D7E75-302E-43D6-BAAC-0DCF629F3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74C829-10B2-4767-88A2-81FB1E338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010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BDE6BA2-791E-4347-8F06-F35C28EAF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9238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BDE6BA2-791E-4347-8F06-F35C28EAF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AFEE7A4-4A03-4431-969D-5BA54AE1934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189E0E-529D-4BDE-BC37-231A75CE9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36823F-7D39-4FD0-A534-305D2DEED7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D93067-046B-43F9-9308-3E60C85A15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2EFCC-3EFF-4FB1-A3B6-5B19313D8C2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14EA9-068B-4240-9CFE-6525DBA99B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EF7CF6-3998-4806-A3BB-81873148C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9B6C42-2489-4A7B-9A80-36DFC4CE3F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96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95572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AB73EC-8C3B-43E9-84FF-4491883B07B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gray">
          <a:xfrm>
            <a:off x="507169" y="1120457"/>
            <a:ext cx="65" cy="1384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pattFill>
                  <a:fgClr>
                    <a:srgbClr val="000000"/>
                  </a:fgClr>
                  <a:bgClr>
                    <a:srgbClr val="000000"/>
                  </a:bgClr>
                </a:pattFill>
              </a14:hiddenFill>
            </a:ext>
          </a:extLst>
        </p:spPr>
        <p:txBody>
          <a:bodyPr wrap="none" lIns="0" tIns="0" rIns="0" bIns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</a:pPr>
            <a:endParaRPr lang="en-GB" sz="1000">
              <a:solidFill>
                <a:prstClr val="black"/>
              </a:solidFill>
              <a:latin typeface="Cambria" panose="02040503050406030204" pitchFamily="18" charset="0"/>
              <a:sym typeface="Trebuchet MS" panose="020B0603020202020204" pitchFamily="34" charset="0"/>
            </a:endParaRPr>
          </a:p>
        </p:txBody>
      </p:sp>
      <p:sp>
        <p:nvSpPr>
          <p:cNvPr id="12" name="Line 6"/>
          <p:cNvSpPr>
            <a:spLocks noChangeShapeType="1"/>
          </p:cNvSpPr>
          <p:nvPr userDrawn="1"/>
        </p:nvSpPr>
        <p:spPr bwMode="gray">
          <a:xfrm>
            <a:off x="386862" y="6477000"/>
            <a:ext cx="11435863" cy="0"/>
          </a:xfrm>
          <a:prstGeom prst="line">
            <a:avLst/>
          </a:prstGeom>
          <a:noFill/>
          <a:ln w="12700">
            <a:solidFill>
              <a:srgbClr val="002060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GB" sz="1108">
              <a:latin typeface="Cambria" panose="02040503050406030204" pitchFamily="18" charset="0"/>
            </a:endParaRPr>
          </a:p>
        </p:txBody>
      </p:sp>
      <p:sp>
        <p:nvSpPr>
          <p:cNvPr id="13" name="Line 6"/>
          <p:cNvSpPr>
            <a:spLocks noChangeShapeType="1"/>
          </p:cNvSpPr>
          <p:nvPr userDrawn="1"/>
        </p:nvSpPr>
        <p:spPr bwMode="gray">
          <a:xfrm>
            <a:off x="386862" y="6477000"/>
            <a:ext cx="1143586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GB" sz="1108">
              <a:latin typeface="Cambria" panose="02040503050406030204" pitchFamily="18" charset="0"/>
            </a:endParaRP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375140" y="310800"/>
            <a:ext cx="11440800" cy="298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idx="1"/>
          </p:nvPr>
        </p:nvSpPr>
        <p:spPr>
          <a:xfrm>
            <a:off x="441762" y="1268413"/>
            <a:ext cx="11374178" cy="496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352425" lvl="1" indent="-169863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en-US"/>
              <a:t>Second level</a:t>
            </a:r>
          </a:p>
          <a:p>
            <a:pPr marL="627063" lvl="2" indent="-274638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</p:txBody>
      </p:sp>
      <p:sp>
        <p:nvSpPr>
          <p:cNvPr id="14" name="Rectangle 9"/>
          <p:cNvSpPr>
            <a:spLocks noChangeArrowheads="1"/>
          </p:cNvSpPr>
          <p:nvPr userDrawn="1"/>
        </p:nvSpPr>
        <p:spPr bwMode="gray">
          <a:xfrm>
            <a:off x="396750" y="6515711"/>
            <a:ext cx="481222" cy="2031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buSzTx/>
            </a:pPr>
            <a:fld id="{52CCA358-1675-4C81-9913-EB992B109D9C}" type="slidenum">
              <a:rPr lang="en-GB" sz="8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>
                <a:lnSpc>
                  <a:spcPct val="90000"/>
                </a:lnSpc>
                <a:spcBef>
                  <a:spcPct val="0"/>
                </a:spcBef>
                <a:buSzTx/>
              </a:pPr>
              <a:t>‹#›</a:t>
            </a:fld>
            <a:r>
              <a:rPr lang="en-GB" sz="8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n-GB" sz="800">
                <a:solidFill>
                  <a:prstClr val="white">
                    <a:lumMod val="65000"/>
                  </a:prstClr>
                </a:solidFill>
                <a:latin typeface="Arial" pitchFamily="34" charset="0"/>
                <a:cs typeface="Arial" pitchFamily="34" charset="0"/>
              </a:rPr>
              <a:t>|  </a:t>
            </a:r>
            <a:endParaRPr lang="en-GB" sz="8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514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39762" indent="-4572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2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95325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8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22.xml"/><Relationship Id="rId11" Type="http://schemas.microsoft.com/office/2007/relationships/hdphoto" Target="../media/hdphoto1.wdp"/><Relationship Id="rId5" Type="http://schemas.openxmlformats.org/officeDocument/2006/relationships/tags" Target="../tags/tag21.xml"/><Relationship Id="rId10" Type="http://schemas.openxmlformats.org/officeDocument/2006/relationships/image" Target="../media/image6.pn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228B9206-A531-492D-9E7B-F93DC57CAF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2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1DC5D9-89B3-4695-87AA-6D4D9179D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533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41DC5D9-89B3-4695-87AA-6D4D9179D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27AA79-F2A6-4B8A-9203-E15B45082C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54100" y="3599304"/>
            <a:ext cx="8844940" cy="1503985"/>
          </a:xfrm>
        </p:spPr>
        <p:txBody>
          <a:bodyPr>
            <a:noAutofit/>
          </a:bodyPr>
          <a:lstStyle/>
          <a:p>
            <a:pPr algn="l"/>
            <a:r>
              <a:rPr lang="en-US" sz="3500" b="1">
                <a:solidFill>
                  <a:schemeClr val="bg1"/>
                </a:solidFill>
                <a:latin typeface="Avenir Next LT Pro"/>
              </a:rPr>
              <a:t>Finding harmony through food</a:t>
            </a:r>
            <a:br>
              <a:rPr lang="en-US" sz="3500" b="1">
                <a:solidFill>
                  <a:schemeClr val="bg1"/>
                </a:solidFill>
                <a:latin typeface="Avenir Next LT Pro"/>
              </a:rPr>
            </a:br>
            <a:br>
              <a:rPr lang="en-US" sz="3500" b="1">
                <a:latin typeface="Avenir Next LT Pro"/>
              </a:rPr>
            </a:br>
            <a:r>
              <a:rPr lang="en-US" sz="3500" b="1">
                <a:solidFill>
                  <a:schemeClr val="bg1"/>
                </a:solidFill>
                <a:latin typeface="Avenir Next LT Pro"/>
              </a:rPr>
              <a:t>                                     </a:t>
            </a:r>
            <a:r>
              <a:rPr lang="en-US" sz="3000" b="1">
                <a:solidFill>
                  <a:schemeClr val="bg1"/>
                </a:solidFill>
                <a:latin typeface="Avenir Next LT Pro"/>
              </a:rPr>
              <a:t>-Team </a:t>
            </a:r>
            <a:r>
              <a:rPr lang="en-US" sz="3000" b="1" err="1">
                <a:solidFill>
                  <a:schemeClr val="bg1"/>
                </a:solidFill>
                <a:latin typeface="Avenir Next LT Pro"/>
              </a:rPr>
              <a:t>Braniacs</a:t>
            </a:r>
            <a:r>
              <a:rPr lang="en-US" sz="3500" b="1">
                <a:solidFill>
                  <a:schemeClr val="bg1"/>
                </a:solidFill>
                <a:latin typeface="Avenir Next LT Pro"/>
              </a:rPr>
              <a:t> </a:t>
            </a:r>
            <a:endParaRPr lang="en-GB" sz="3500" b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8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E5CBF1F-6238-4423-AF8C-31B8D97A09E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37" y="5745230"/>
            <a:ext cx="1958183" cy="907655"/>
          </a:xfrm>
          <a:prstGeom prst="rect">
            <a:avLst/>
          </a:prstGeom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91" r="28991"/>
          <a:stretch/>
        </p:blipFill>
        <p:spPr bwMode="auto">
          <a:xfrm>
            <a:off x="7751751" y="536062"/>
            <a:ext cx="3769363" cy="5785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FDA9015-7C07-CF48-B3F4-530E37BE868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668" r="14888"/>
          <a:stretch/>
        </p:blipFill>
        <p:spPr>
          <a:xfrm>
            <a:off x="1815068" y="0"/>
            <a:ext cx="10376932" cy="261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788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0721DD79-0D17-4E3C-AC96-35E5D9B0E4C2}"/>
              </a:ext>
            </a:extLst>
          </p:cNvPr>
          <p:cNvSpPr/>
          <p:nvPr/>
        </p:nvSpPr>
        <p:spPr>
          <a:xfrm>
            <a:off x="0" y="6446"/>
            <a:ext cx="12225854" cy="1212553"/>
          </a:xfrm>
          <a:prstGeom prst="rect">
            <a:avLst/>
          </a:prstGeom>
          <a:solidFill>
            <a:srgbClr val="192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185" y="458891"/>
            <a:ext cx="11440800" cy="2988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Avenir Next LT Pro"/>
                <a:cs typeface="Arial"/>
              </a:rPr>
              <a:t>Task 1.  </a:t>
            </a:r>
            <a:endParaRPr lang="en-US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478363" y="1542497"/>
            <a:ext cx="11055196" cy="481842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838200" y="1319510"/>
            <a:ext cx="812800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Restaurant revenue didn’t grow as fast as number of visitors after the re-launch, because…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479063" y="729734"/>
            <a:ext cx="1107440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>
              <a:defRPr/>
            </a:pP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3F0B00-9F09-407D-90AA-438E86AE5AF4}"/>
              </a:ext>
            </a:extLst>
          </p:cNvPr>
          <p:cNvSpPr txBox="1">
            <a:spLocks/>
          </p:cNvSpPr>
          <p:nvPr/>
        </p:nvSpPr>
        <p:spPr>
          <a:xfrm>
            <a:off x="913090" y="2479574"/>
            <a:ext cx="1931710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Arial"/>
              </a:rPr>
              <a:t>Decrease in number of items/visitor</a:t>
            </a:r>
            <a:endParaRPr lang="en-US" sz="1200" b="1" i="1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1E54C86-6854-4699-B6D5-86671A62F66B}"/>
              </a:ext>
            </a:extLst>
          </p:cNvPr>
          <p:cNvSpPr txBox="1">
            <a:spLocks/>
          </p:cNvSpPr>
          <p:nvPr/>
        </p:nvSpPr>
        <p:spPr>
          <a:xfrm>
            <a:off x="5246040" y="2358455"/>
            <a:ext cx="4813300" cy="73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192D57"/>
                </a:solidFill>
                <a:latin typeface="Arial"/>
                <a:cs typeface="Arial"/>
              </a:rPr>
              <a:t>The number of families visiting increased , we can verify this by number of visitors/number of receipts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192D57"/>
                </a:solidFill>
                <a:latin typeface="Arial"/>
                <a:cs typeface="Arial"/>
              </a:rPr>
              <a:t>As the number of families increased ,sharing of items was promoted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1AE5A5-6035-4FE6-9BEC-F2C2920F91D5}"/>
              </a:ext>
            </a:extLst>
          </p:cNvPr>
          <p:cNvSpPr txBox="1">
            <a:spLocks/>
          </p:cNvSpPr>
          <p:nvPr/>
        </p:nvSpPr>
        <p:spPr>
          <a:xfrm>
            <a:off x="913090" y="3763684"/>
            <a:ext cx="193171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ea typeface="+mn-lt"/>
                <a:cs typeface="+mn-lt"/>
              </a:rPr>
              <a:t>Revenue per item is decreased</a:t>
            </a:r>
            <a:endParaRPr lang="en-US" sz="1200" b="1" i="1">
              <a:solidFill>
                <a:srgbClr val="192D57"/>
              </a:solidFill>
              <a:latin typeface="arial"/>
              <a:cs typeface="Calibri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200" b="1" i="1">
              <a:solidFill>
                <a:srgbClr val="192D57"/>
              </a:solidFill>
              <a:latin typeface="arial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38D89C-81C1-4FD2-8471-A53E29D312B4}"/>
              </a:ext>
            </a:extLst>
          </p:cNvPr>
          <p:cNvSpPr txBox="1">
            <a:spLocks/>
          </p:cNvSpPr>
          <p:nvPr/>
        </p:nvSpPr>
        <p:spPr>
          <a:xfrm>
            <a:off x="5249485" y="3624294"/>
            <a:ext cx="5212885" cy="110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ea typeface="+mn-lt"/>
                <a:cs typeface="+mn-lt"/>
              </a:rPr>
              <a:t>Average price of top 5 items decreased after re-launch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Calibri"/>
              </a:rPr>
              <a:t>Lunch combo was discontinued so people switched to cheaper alternatives.</a:t>
            </a:r>
            <a:endParaRPr lang="en-US" sz="1200" b="0" i="1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/>
              <a:cs typeface="Calibri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Calibri"/>
              </a:rPr>
              <a:t>New salads and desserts don’t sell as expected  and cheap cocktails became instant hit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200" i="1">
              <a:solidFill>
                <a:srgbClr val="192D57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66A15C-6782-4573-A28D-CD3F5B7D4D05}"/>
              </a:ext>
            </a:extLst>
          </p:cNvPr>
          <p:cNvSpPr txBox="1">
            <a:spLocks/>
          </p:cNvSpPr>
          <p:nvPr/>
        </p:nvSpPr>
        <p:spPr>
          <a:xfrm>
            <a:off x="913090" y="5141246"/>
            <a:ext cx="193171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Arial"/>
              </a:rPr>
              <a:t>Weekdays slump</a:t>
            </a:r>
            <a:endParaRPr lang="en-US" sz="1200" b="1" i="1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112B2D-448D-4D90-B131-083EC9344944}"/>
              </a:ext>
            </a:extLst>
          </p:cNvPr>
          <p:cNvSpPr txBox="1">
            <a:spLocks/>
          </p:cNvSpPr>
          <p:nvPr/>
        </p:nvSpPr>
        <p:spPr>
          <a:xfrm>
            <a:off x="5249485" y="5141245"/>
            <a:ext cx="481330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Lunch combo was discontinued so working professionals stopped visiting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Families don’t visit a restaurant as often on weekdays.</a:t>
            </a:r>
            <a:endParaRPr lang="en-US" sz="1200" i="1" err="1">
              <a:solidFill>
                <a:srgbClr val="192D57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735921C-CC67-4EF8-BC34-3864C4977167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838200" y="2258258"/>
            <a:ext cx="96266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D08127D-3B2B-4FF6-B1A0-DEA9C43D604F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838200" y="6028318"/>
            <a:ext cx="962660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2CF7D98-6893-46CF-A0CE-ECDEFDBB018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38200" y="4771632"/>
            <a:ext cx="96266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6EC99A-805C-457B-8EB2-4E6447F6102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38200" y="3468481"/>
            <a:ext cx="96266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39C2523E-7DF1-4E76-A5F4-F706E5160171}"/>
              </a:ext>
            </a:extLst>
          </p:cNvPr>
          <p:cNvSpPr txBox="1">
            <a:spLocks/>
          </p:cNvSpPr>
          <p:nvPr/>
        </p:nvSpPr>
        <p:spPr>
          <a:xfrm>
            <a:off x="3053041" y="2382702"/>
            <a:ext cx="1696760" cy="73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Arial"/>
              </a:rPr>
              <a:t>Avg. number </a:t>
            </a: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rial"/>
                <a:cs typeface="Arial"/>
              </a:rPr>
              <a:t> of items sold per day</a:t>
            </a:r>
            <a:endParaRPr lang="en-US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Arial"/>
              </a:rPr>
              <a:t>Avg. number</a:t>
            </a: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rial"/>
                <a:cs typeface="Arial"/>
              </a:rPr>
              <a:t> of visitors per day.</a:t>
            </a:r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4E11422-48EC-4FBA-9226-866B3A99D93E}"/>
              </a:ext>
            </a:extLst>
          </p:cNvPr>
          <p:cNvSpPr txBox="1">
            <a:spLocks/>
          </p:cNvSpPr>
          <p:nvPr/>
        </p:nvSpPr>
        <p:spPr>
          <a:xfrm>
            <a:off x="3053041" y="3583032"/>
            <a:ext cx="1696760" cy="73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Calibri"/>
              </a:rPr>
              <a:t>Avg. revenue per day, EUR.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Calibri"/>
              </a:rPr>
              <a:t>Avg. number of items sold per day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BE0458-F1ED-4F59-BE4F-E99F957DC8E5}"/>
              </a:ext>
            </a:extLst>
          </p:cNvPr>
          <p:cNvSpPr txBox="1">
            <a:spLocks/>
          </p:cNvSpPr>
          <p:nvPr/>
        </p:nvSpPr>
        <p:spPr>
          <a:xfrm>
            <a:off x="3053041" y="5141246"/>
            <a:ext cx="1696760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 i="1">
                <a:solidFill>
                  <a:srgbClr val="192D57"/>
                </a:solidFill>
                <a:latin typeface="Arial"/>
                <a:cs typeface="Arial"/>
              </a:rPr>
              <a:t>Avg.  revenue per day during weekdays.</a:t>
            </a:r>
            <a:endParaRPr lang="en-US" sz="1200" b="1" i="1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A63A146-9525-4F91-A2BE-CB31E77486D4}"/>
              </a:ext>
            </a:extLst>
          </p:cNvPr>
          <p:cNvSpPr txBox="1">
            <a:spLocks/>
          </p:cNvSpPr>
          <p:nvPr/>
        </p:nvSpPr>
        <p:spPr>
          <a:xfrm>
            <a:off x="889940" y="2023072"/>
            <a:ext cx="193171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Reas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CB2C4F-C3DA-4BA7-BBA3-3A9847C51CD2}"/>
              </a:ext>
            </a:extLst>
          </p:cNvPr>
          <p:cNvSpPr txBox="1">
            <a:spLocks/>
          </p:cNvSpPr>
          <p:nvPr/>
        </p:nvSpPr>
        <p:spPr>
          <a:xfrm>
            <a:off x="3029891" y="1841912"/>
            <a:ext cx="1931710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Drivers/ KPIs indicating this reas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2C3274-9DFE-4E4C-AD44-8AC732DE16DF}"/>
              </a:ext>
            </a:extLst>
          </p:cNvPr>
          <p:cNvSpPr txBox="1">
            <a:spLocks/>
          </p:cNvSpPr>
          <p:nvPr/>
        </p:nvSpPr>
        <p:spPr>
          <a:xfrm>
            <a:off x="5246040" y="2018184"/>
            <a:ext cx="193171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Short argumentation</a:t>
            </a:r>
          </a:p>
        </p:txBody>
      </p:sp>
      <p:pic>
        <p:nvPicPr>
          <p:cNvPr id="7" name="Picture 22" descr="A picture containing light, drawing&#10;&#10;Description automatically generated">
            <a:extLst>
              <a:ext uri="{FF2B5EF4-FFF2-40B4-BE49-F238E27FC236}">
                <a16:creationId xmlns:a16="http://schemas.microsoft.com/office/drawing/2014/main" id="{C7CB1257-69B7-452E-A6CD-28C2EADB81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8066" y="6557085"/>
            <a:ext cx="508334" cy="235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35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>
            <a:extLst>
              <a:ext uri="{FF2B5EF4-FFF2-40B4-BE49-F238E27FC236}">
                <a16:creationId xmlns:a16="http://schemas.microsoft.com/office/drawing/2014/main" id="{C9AD2C24-4C33-4827-A012-602B2CB79339}"/>
              </a:ext>
            </a:extLst>
          </p:cNvPr>
          <p:cNvSpPr/>
          <p:nvPr/>
        </p:nvSpPr>
        <p:spPr>
          <a:xfrm>
            <a:off x="0" y="6446"/>
            <a:ext cx="12225854" cy="1237597"/>
          </a:xfrm>
          <a:prstGeom prst="rect">
            <a:avLst/>
          </a:prstGeom>
          <a:solidFill>
            <a:srgbClr val="192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96A302-FFD1-4E2C-8C38-C931F2A30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96A302-FFD1-4E2C-8C38-C931F2A30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87CEF5-404C-42F3-95F1-FBB7A141C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25" y="431605"/>
            <a:ext cx="11440800" cy="2988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Avenir Next LT Pro" panose="020B0504020202020204" pitchFamily="34" charset="0"/>
              </a:rPr>
              <a:t>Supporting materials for Task 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88EE471-ADB1-4FDD-8278-6EF1DBCDD060}"/>
              </a:ext>
            </a:extLst>
          </p:cNvPr>
          <p:cNvSpPr/>
          <p:nvPr/>
        </p:nvSpPr>
        <p:spPr>
          <a:xfrm>
            <a:off x="4910732" y="428605"/>
            <a:ext cx="304800" cy="3048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192D57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pic>
        <p:nvPicPr>
          <p:cNvPr id="10" name="Picture 22" descr="A picture containing light, drawing&#10;&#10;Description automatically generated">
            <a:extLst>
              <a:ext uri="{FF2B5EF4-FFF2-40B4-BE49-F238E27FC236}">
                <a16:creationId xmlns:a16="http://schemas.microsoft.com/office/drawing/2014/main" id="{25DDE4FE-0D12-42F5-9770-3E4F1B72A1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233" y="6547200"/>
            <a:ext cx="508334" cy="235358"/>
          </a:xfrm>
          <a:prstGeom prst="rect">
            <a:avLst/>
          </a:prstGeom>
        </p:spPr>
      </p:pic>
      <p:grpSp>
        <p:nvGrpSpPr>
          <p:cNvPr id="11" name="Group 16">
            <a:extLst>
              <a:ext uri="{FF2B5EF4-FFF2-40B4-BE49-F238E27FC236}">
                <a16:creationId xmlns:a16="http://schemas.microsoft.com/office/drawing/2014/main" id="{2E3EC2EA-78A3-4F2D-88BF-514F91A57906}"/>
              </a:ext>
            </a:extLst>
          </p:cNvPr>
          <p:cNvGrpSpPr/>
          <p:nvPr/>
        </p:nvGrpSpPr>
        <p:grpSpPr>
          <a:xfrm flipH="1" flipV="1">
            <a:off x="9564500" y="-1016274"/>
            <a:ext cx="6682148" cy="1016274"/>
            <a:chOff x="-3655149" y="1509687"/>
            <a:chExt cx="6682148" cy="1016274"/>
          </a:xfrm>
        </p:grpSpPr>
        <p:sp>
          <p:nvSpPr>
            <p:cNvPr id="12" name="Rectangle: Rounded Corners 17">
              <a:extLst>
                <a:ext uri="{FF2B5EF4-FFF2-40B4-BE49-F238E27FC236}">
                  <a16:creationId xmlns:a16="http://schemas.microsoft.com/office/drawing/2014/main" id="{60295B1C-1DBA-4D42-87AF-8E8AC694DE94}"/>
                </a:ext>
              </a:extLst>
            </p:cNvPr>
            <p:cNvSpPr/>
            <p:nvPr/>
          </p:nvSpPr>
          <p:spPr>
            <a:xfrm rot="19785624">
              <a:off x="-3655149" y="1698479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EA66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8">
              <a:extLst>
                <a:ext uri="{FF2B5EF4-FFF2-40B4-BE49-F238E27FC236}">
                  <a16:creationId xmlns:a16="http://schemas.microsoft.com/office/drawing/2014/main" id="{0CCD6127-8121-4CF1-8910-DB0A30A3A40D}"/>
                </a:ext>
              </a:extLst>
            </p:cNvPr>
            <p:cNvSpPr/>
            <p:nvPr/>
          </p:nvSpPr>
          <p:spPr>
            <a:xfrm rot="19785624">
              <a:off x="-2834780" y="1652562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2B9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9">
              <a:extLst>
                <a:ext uri="{FF2B5EF4-FFF2-40B4-BE49-F238E27FC236}">
                  <a16:creationId xmlns:a16="http://schemas.microsoft.com/office/drawing/2014/main" id="{57016C12-1DCE-4D0D-B74E-3DECE520DCD5}"/>
                </a:ext>
              </a:extLst>
            </p:cNvPr>
            <p:cNvSpPr/>
            <p:nvPr/>
          </p:nvSpPr>
          <p:spPr>
            <a:xfrm rot="19785624">
              <a:off x="-1787853" y="1509687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FDB7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20">
              <a:extLst>
                <a:ext uri="{FF2B5EF4-FFF2-40B4-BE49-F238E27FC236}">
                  <a16:creationId xmlns:a16="http://schemas.microsoft.com/office/drawing/2014/main" id="{D70FA4FB-84E9-4E96-A090-29E2C4299933}"/>
                </a:ext>
              </a:extLst>
            </p:cNvPr>
            <p:cNvSpPr/>
            <p:nvPr/>
          </p:nvSpPr>
          <p:spPr>
            <a:xfrm rot="19785624">
              <a:off x="-2355187" y="2284369"/>
              <a:ext cx="4814852" cy="241592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AAC4C8B-98EA-448E-AA64-91DE4403E04E}"/>
              </a:ext>
            </a:extLst>
          </p:cNvPr>
          <p:cNvSpPr txBox="1"/>
          <p:nvPr/>
        </p:nvSpPr>
        <p:spPr>
          <a:xfrm>
            <a:off x="5275852" y="2547712"/>
            <a:ext cx="6714744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IN" sz="1200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6" descr="Chart, line chart&#10;&#10;Description automatically generated">
            <a:extLst>
              <a:ext uri="{FF2B5EF4-FFF2-40B4-BE49-F238E27FC236}">
                <a16:creationId xmlns:a16="http://schemas.microsoft.com/office/drawing/2014/main" id="{4D92E7BA-3AFB-4139-9092-FB3D379ECA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4805" y="3426957"/>
            <a:ext cx="4701249" cy="2917047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6FB2D8C-CEA8-4E6C-A1A6-1797B02CC7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7608582"/>
              </p:ext>
            </p:extLst>
          </p:nvPr>
        </p:nvGraphicFramePr>
        <p:xfrm>
          <a:off x="159926" y="1319302"/>
          <a:ext cx="3039411" cy="2605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7C644C77-124F-4FD5-991D-44E623217537}"/>
              </a:ext>
            </a:extLst>
          </p:cNvPr>
          <p:cNvSpPr txBox="1"/>
          <p:nvPr/>
        </p:nvSpPr>
        <p:spPr>
          <a:xfrm>
            <a:off x="3046071" y="1377387"/>
            <a:ext cx="8945301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Char char="•"/>
            </a:pPr>
            <a:r>
              <a:rPr lang="en-IN" sz="1200" i="1">
                <a:latin typeface="Arial"/>
                <a:cs typeface="Arial"/>
              </a:rPr>
              <a:t>As it is quite evident by the trend line, that no. of items have been increasing drastically after the relaunch from </a:t>
            </a:r>
            <a:r>
              <a:rPr lang="en-IN" sz="1200" b="1" i="1">
                <a:latin typeface="Arial"/>
                <a:cs typeface="Arial"/>
              </a:rPr>
              <a:t>a weekly average of 1.27 to 0.88 . </a:t>
            </a:r>
            <a:r>
              <a:rPr lang="en-IN" sz="1200">
                <a:latin typeface="Arial"/>
                <a:cs typeface="Arial"/>
              </a:rPr>
              <a:t>​</a:t>
            </a:r>
            <a:endParaRPr lang="en-US"/>
          </a:p>
          <a:p>
            <a:endParaRPr lang="en-IN" sz="1200">
              <a:latin typeface="Arial"/>
              <a:cs typeface="Arial"/>
            </a:endParaRPr>
          </a:p>
          <a:p>
            <a:pPr>
              <a:buChar char="•"/>
            </a:pPr>
            <a:r>
              <a:rPr lang="en-IN" sz="1200" i="1">
                <a:latin typeface="Arial"/>
                <a:cs typeface="Arial"/>
              </a:rPr>
              <a:t>Post relaunch ,the target audience has been families which is evident from the fact that </a:t>
            </a:r>
            <a:r>
              <a:rPr lang="en-IN" sz="1200" b="1" i="1">
                <a:latin typeface="Arial"/>
                <a:cs typeface="Arial"/>
              </a:rPr>
              <a:t>Average person per table </a:t>
            </a:r>
            <a:r>
              <a:rPr lang="en-IN" sz="1200" i="1">
                <a:latin typeface="Arial"/>
                <a:cs typeface="Arial"/>
              </a:rPr>
              <a:t>has increased .(visitors/receipts)</a:t>
            </a:r>
            <a:r>
              <a:rPr lang="en-US" sz="1200">
                <a:latin typeface="Arial"/>
                <a:cs typeface="Arial"/>
              </a:rPr>
              <a:t>​.</a:t>
            </a:r>
          </a:p>
          <a:p>
            <a:endParaRPr lang="en-US" sz="1200">
              <a:latin typeface="Arial"/>
              <a:cs typeface="Arial"/>
            </a:endParaRPr>
          </a:p>
          <a:p>
            <a:pPr>
              <a:buChar char="•"/>
            </a:pPr>
            <a:r>
              <a:rPr lang="en-IN" sz="1200" i="1">
                <a:latin typeface="Arial"/>
                <a:cs typeface="Arial"/>
              </a:rPr>
              <a:t>When families visit , the </a:t>
            </a:r>
            <a:r>
              <a:rPr lang="en-IN" sz="1200" b="1" i="1">
                <a:latin typeface="Arial"/>
                <a:cs typeface="Arial"/>
              </a:rPr>
              <a:t>average no. of items per person is likely to decrease </a:t>
            </a:r>
            <a:r>
              <a:rPr lang="en-IN" sz="1200" i="1">
                <a:latin typeface="Arial"/>
                <a:cs typeface="Arial"/>
              </a:rPr>
              <a:t>because sharing is prevalent as the quantity is </a:t>
            </a:r>
            <a:r>
              <a:rPr lang="en-IN" sz="1200" b="1" i="1">
                <a:latin typeface="Arial"/>
                <a:cs typeface="Arial"/>
              </a:rPr>
              <a:t>sufficient for more than 1 person</a:t>
            </a:r>
            <a:r>
              <a:rPr lang="en-IN" sz="1200" i="1">
                <a:latin typeface="Arial"/>
                <a:cs typeface="Arial"/>
              </a:rPr>
              <a:t> .</a:t>
            </a:r>
            <a:r>
              <a:rPr lang="en-US" sz="1200">
                <a:latin typeface="Arial"/>
                <a:cs typeface="Arial"/>
              </a:rPr>
              <a:t>​</a:t>
            </a:r>
          </a:p>
          <a:p>
            <a:endParaRPr lang="en-US" sz="1200">
              <a:latin typeface="Arial"/>
              <a:cs typeface="Arial"/>
            </a:endParaRPr>
          </a:p>
          <a:p>
            <a:pPr>
              <a:buChar char="•"/>
            </a:pPr>
            <a:r>
              <a:rPr lang="en-IN" sz="1200" b="1" i="1">
                <a:latin typeface="Arial"/>
                <a:cs typeface="Arial"/>
              </a:rPr>
              <a:t>Note: </a:t>
            </a:r>
            <a:r>
              <a:rPr lang="en-IN" sz="1200" i="1">
                <a:latin typeface="Arial"/>
                <a:cs typeface="Arial"/>
              </a:rPr>
              <a:t>The sudden dip in the blue trend line takes place because prior to the relaunch the restaurant was closed on Sunday, hence the value swoops down to 0.</a:t>
            </a:r>
            <a:r>
              <a:rPr lang="en-US" sz="1200">
                <a:latin typeface="Arial"/>
                <a:cs typeface="Arial"/>
              </a:rPr>
              <a:t>​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1882B7-7BEE-493C-9B8E-D9907502DEB3}"/>
              </a:ext>
            </a:extLst>
          </p:cNvPr>
          <p:cNvSpPr txBox="1"/>
          <p:nvPr/>
        </p:nvSpPr>
        <p:spPr>
          <a:xfrm>
            <a:off x="75235" y="4435033"/>
            <a:ext cx="757563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Char char="•"/>
            </a:pPr>
            <a:r>
              <a:rPr lang="en-US" sz="1200" i="1">
                <a:latin typeface="Arial"/>
                <a:cs typeface="Arial"/>
              </a:rPr>
              <a:t>After relaunch the target audience shifted from </a:t>
            </a:r>
            <a:r>
              <a:rPr lang="en-US" sz="1200" b="1" i="1">
                <a:latin typeface="Arial"/>
                <a:cs typeface="Arial"/>
              </a:rPr>
              <a:t>working professionals to families</a:t>
            </a:r>
            <a:r>
              <a:rPr lang="en-US" sz="1200" i="1">
                <a:latin typeface="Arial"/>
                <a:cs typeface="Arial"/>
              </a:rPr>
              <a:t> which is evident from the shift in peak days of the restaurant.</a:t>
            </a:r>
            <a:r>
              <a:rPr lang="en-US" sz="1200">
                <a:latin typeface="Arial"/>
                <a:cs typeface="Arial"/>
              </a:rPr>
              <a:t>​</a:t>
            </a:r>
          </a:p>
          <a:p>
            <a:endParaRPr lang="en-US" sz="1200">
              <a:latin typeface="Arial"/>
              <a:cs typeface="Arial"/>
            </a:endParaRPr>
          </a:p>
          <a:p>
            <a:pPr>
              <a:buChar char="•"/>
            </a:pPr>
            <a:r>
              <a:rPr lang="en-US" sz="1200" i="1">
                <a:latin typeface="Arial"/>
                <a:cs typeface="Arial"/>
              </a:rPr>
              <a:t>The company lost a major chunk of their target most probably due to </a:t>
            </a:r>
            <a:r>
              <a:rPr lang="en-US" sz="1200" b="1" i="1">
                <a:latin typeface="Arial"/>
                <a:cs typeface="Arial"/>
              </a:rPr>
              <a:t>removal of lunch combo </a:t>
            </a:r>
            <a:r>
              <a:rPr lang="en-US" sz="1200" i="1">
                <a:latin typeface="Arial"/>
                <a:cs typeface="Arial"/>
              </a:rPr>
              <a:t>which was the </a:t>
            </a:r>
            <a:r>
              <a:rPr lang="en-US" sz="1200" b="1" i="1">
                <a:latin typeface="Arial"/>
                <a:cs typeface="Arial"/>
              </a:rPr>
              <a:t>most appealing dish for working professionals.</a:t>
            </a:r>
            <a:r>
              <a:rPr lang="en-US" sz="1200">
                <a:latin typeface="Arial"/>
                <a:cs typeface="Arial"/>
              </a:rPr>
              <a:t>​</a:t>
            </a:r>
          </a:p>
          <a:p>
            <a:pPr>
              <a:buChar char="•"/>
            </a:pPr>
            <a:endParaRPr lang="en-US"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0269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>
            <a:extLst>
              <a:ext uri="{FF2B5EF4-FFF2-40B4-BE49-F238E27FC236}">
                <a16:creationId xmlns:a16="http://schemas.microsoft.com/office/drawing/2014/main" id="{C9AD2C24-4C33-4827-A012-602B2CB79339}"/>
              </a:ext>
            </a:extLst>
          </p:cNvPr>
          <p:cNvSpPr/>
          <p:nvPr/>
        </p:nvSpPr>
        <p:spPr>
          <a:xfrm>
            <a:off x="0" y="6446"/>
            <a:ext cx="12225854" cy="1237597"/>
          </a:xfrm>
          <a:prstGeom prst="rect">
            <a:avLst/>
          </a:prstGeom>
          <a:solidFill>
            <a:srgbClr val="192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96A302-FFD1-4E2C-8C38-C931F2A30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96A302-FFD1-4E2C-8C38-C931F2A30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87CEF5-404C-42F3-95F1-FBB7A141C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25" y="431605"/>
            <a:ext cx="11440800" cy="2988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Avenir Next LT Pro" panose="020B0504020202020204" pitchFamily="34" charset="0"/>
              </a:rPr>
              <a:t>Supporting materials for Task 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88EE471-ADB1-4FDD-8278-6EF1DBCDD060}"/>
              </a:ext>
            </a:extLst>
          </p:cNvPr>
          <p:cNvSpPr/>
          <p:nvPr/>
        </p:nvSpPr>
        <p:spPr>
          <a:xfrm>
            <a:off x="4910732" y="428605"/>
            <a:ext cx="304800" cy="3048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192D57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2" descr="A picture containing light, drawing&#10;&#10;Description automatically generated">
            <a:extLst>
              <a:ext uri="{FF2B5EF4-FFF2-40B4-BE49-F238E27FC236}">
                <a16:creationId xmlns:a16="http://schemas.microsoft.com/office/drawing/2014/main" id="{25DDE4FE-0D12-42F5-9770-3E4F1B72A1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233" y="6547200"/>
            <a:ext cx="508334" cy="235358"/>
          </a:xfrm>
          <a:prstGeom prst="rect">
            <a:avLst/>
          </a:prstGeom>
        </p:spPr>
      </p:pic>
      <p:grpSp>
        <p:nvGrpSpPr>
          <p:cNvPr id="11" name="Group 16">
            <a:extLst>
              <a:ext uri="{FF2B5EF4-FFF2-40B4-BE49-F238E27FC236}">
                <a16:creationId xmlns:a16="http://schemas.microsoft.com/office/drawing/2014/main" id="{2E3EC2EA-78A3-4F2D-88BF-514F91A57906}"/>
              </a:ext>
            </a:extLst>
          </p:cNvPr>
          <p:cNvGrpSpPr/>
          <p:nvPr/>
        </p:nvGrpSpPr>
        <p:grpSpPr>
          <a:xfrm flipH="1" flipV="1">
            <a:off x="9564500" y="-1016274"/>
            <a:ext cx="6682148" cy="1016274"/>
            <a:chOff x="-3655149" y="1509687"/>
            <a:chExt cx="6682148" cy="1016274"/>
          </a:xfrm>
        </p:grpSpPr>
        <p:sp>
          <p:nvSpPr>
            <p:cNvPr id="12" name="Rectangle: Rounded Corners 17">
              <a:extLst>
                <a:ext uri="{FF2B5EF4-FFF2-40B4-BE49-F238E27FC236}">
                  <a16:creationId xmlns:a16="http://schemas.microsoft.com/office/drawing/2014/main" id="{60295B1C-1DBA-4D42-87AF-8E8AC694DE94}"/>
                </a:ext>
              </a:extLst>
            </p:cNvPr>
            <p:cNvSpPr/>
            <p:nvPr/>
          </p:nvSpPr>
          <p:spPr>
            <a:xfrm rot="19785624">
              <a:off x="-3655149" y="1698479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EA66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8">
              <a:extLst>
                <a:ext uri="{FF2B5EF4-FFF2-40B4-BE49-F238E27FC236}">
                  <a16:creationId xmlns:a16="http://schemas.microsoft.com/office/drawing/2014/main" id="{0CCD6127-8121-4CF1-8910-DB0A30A3A40D}"/>
                </a:ext>
              </a:extLst>
            </p:cNvPr>
            <p:cNvSpPr/>
            <p:nvPr/>
          </p:nvSpPr>
          <p:spPr>
            <a:xfrm rot="19785624">
              <a:off x="-2834780" y="1652562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2B97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9">
              <a:extLst>
                <a:ext uri="{FF2B5EF4-FFF2-40B4-BE49-F238E27FC236}">
                  <a16:creationId xmlns:a16="http://schemas.microsoft.com/office/drawing/2014/main" id="{57016C12-1DCE-4D0D-B74E-3DECE520DCD5}"/>
                </a:ext>
              </a:extLst>
            </p:cNvPr>
            <p:cNvSpPr/>
            <p:nvPr/>
          </p:nvSpPr>
          <p:spPr>
            <a:xfrm rot="19785624">
              <a:off x="-1787853" y="1509687"/>
              <a:ext cx="4814852" cy="241592"/>
            </a:xfrm>
            <a:prstGeom prst="roundRect">
              <a:avLst>
                <a:gd name="adj" fmla="val 50000"/>
              </a:avLst>
            </a:prstGeom>
            <a:solidFill>
              <a:srgbClr val="FDB7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20">
              <a:extLst>
                <a:ext uri="{FF2B5EF4-FFF2-40B4-BE49-F238E27FC236}">
                  <a16:creationId xmlns:a16="http://schemas.microsoft.com/office/drawing/2014/main" id="{D70FA4FB-84E9-4E96-A090-29E2C4299933}"/>
                </a:ext>
              </a:extLst>
            </p:cNvPr>
            <p:cNvSpPr/>
            <p:nvPr/>
          </p:nvSpPr>
          <p:spPr>
            <a:xfrm rot="19785624">
              <a:off x="-2355187" y="2284369"/>
              <a:ext cx="4814852" cy="241592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A990CC0-45AE-4139-BE1C-98276E1D422F}"/>
              </a:ext>
            </a:extLst>
          </p:cNvPr>
          <p:cNvGraphicFramePr/>
          <p:nvPr/>
        </p:nvGraphicFramePr>
        <p:xfrm>
          <a:off x="201404" y="1334726"/>
          <a:ext cx="5014128" cy="4868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AAC4C8B-98EA-448E-AA64-91DE4403E04E}"/>
              </a:ext>
            </a:extLst>
          </p:cNvPr>
          <p:cNvSpPr txBox="1"/>
          <p:nvPr/>
        </p:nvSpPr>
        <p:spPr>
          <a:xfrm>
            <a:off x="5210803" y="2259639"/>
            <a:ext cx="6714744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i="1">
                <a:latin typeface="Arial"/>
                <a:ea typeface="+mn-lt"/>
                <a:cs typeface="Arial"/>
              </a:rPr>
              <a:t>Looking at average revenue obtained each day before and after the re-launch it can be observed that , before it was quite uniform whereas after re-launch it has decreased on weekdays and has high increase on weekends .But this shouldn’t be confused with high average revenue.</a:t>
            </a: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  <a:p>
            <a:r>
              <a:rPr lang="en-IN" sz="1200" i="1">
                <a:latin typeface="Arial"/>
                <a:ea typeface="+mn-lt"/>
                <a:cs typeface="Arial"/>
              </a:rPr>
              <a:t>  </a:t>
            </a: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i="1">
                <a:latin typeface="Arial"/>
                <a:ea typeface="+mn-lt"/>
                <a:cs typeface="Arial"/>
              </a:rPr>
              <a:t>It can be evidently seen from other two indicators that the average of all days before is </a:t>
            </a:r>
            <a:r>
              <a:rPr lang="en-IN" sz="1200" b="1" i="1">
                <a:latin typeface="Arial"/>
                <a:ea typeface="+mn-lt"/>
                <a:cs typeface="Arial"/>
              </a:rPr>
              <a:t>4.35</a:t>
            </a:r>
            <a:r>
              <a:rPr lang="en-IN" sz="1200" i="1">
                <a:latin typeface="Arial"/>
                <a:ea typeface="+mn-lt"/>
                <a:cs typeface="Arial"/>
              </a:rPr>
              <a:t> whereas after it is </a:t>
            </a:r>
            <a:r>
              <a:rPr lang="en-IN" sz="1200" b="1" i="1">
                <a:latin typeface="Arial"/>
                <a:ea typeface="+mn-lt"/>
                <a:cs typeface="Arial"/>
              </a:rPr>
              <a:t>3.64</a:t>
            </a:r>
            <a:r>
              <a:rPr lang="en-IN" sz="1200" i="1">
                <a:latin typeface="Arial"/>
                <a:ea typeface="+mn-lt"/>
                <a:cs typeface="Arial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i="1">
                <a:latin typeface="Arial"/>
                <a:ea typeface="+mn-lt"/>
                <a:cs typeface="Arial"/>
              </a:rPr>
              <a:t>The average of top 5 items before is </a:t>
            </a:r>
            <a:r>
              <a:rPr lang="en-IN" sz="1200" b="1" i="1">
                <a:latin typeface="Arial"/>
                <a:ea typeface="+mn-lt"/>
                <a:cs typeface="Arial"/>
              </a:rPr>
              <a:t>4.7</a:t>
            </a:r>
            <a:r>
              <a:rPr lang="en-IN" sz="1200" i="1">
                <a:latin typeface="Arial"/>
                <a:ea typeface="+mn-lt"/>
                <a:cs typeface="Arial"/>
              </a:rPr>
              <a:t> and after is </a:t>
            </a:r>
            <a:r>
              <a:rPr lang="en-IN" sz="1200" b="1" i="1">
                <a:latin typeface="Arial"/>
                <a:ea typeface="+mn-lt"/>
                <a:cs typeface="Arial"/>
              </a:rPr>
              <a:t>4.2</a:t>
            </a:r>
            <a:r>
              <a:rPr lang="en-IN" sz="1200" i="1">
                <a:latin typeface="Arial"/>
                <a:ea typeface="+mn-lt"/>
                <a:cs typeface="Arial"/>
              </a:rPr>
              <a:t> .The main reason seems to be </a:t>
            </a:r>
            <a:r>
              <a:rPr lang="en-IN" sz="1200" b="1" i="1">
                <a:latin typeface="Arial"/>
                <a:ea typeface="+mn-lt"/>
                <a:cs typeface="Arial"/>
              </a:rPr>
              <a:t>removal</a:t>
            </a:r>
            <a:r>
              <a:rPr lang="en-IN" sz="1200" i="1">
                <a:latin typeface="Arial"/>
                <a:ea typeface="+mn-lt"/>
                <a:cs typeface="Arial"/>
              </a:rPr>
              <a:t> of </a:t>
            </a:r>
            <a:r>
              <a:rPr lang="en-IN" sz="1200" b="1" i="1">
                <a:latin typeface="Arial"/>
                <a:ea typeface="+mn-lt"/>
                <a:cs typeface="Arial"/>
              </a:rPr>
              <a:t>Lunch Deal</a:t>
            </a:r>
            <a:r>
              <a:rPr lang="en-IN" sz="1200" i="1">
                <a:latin typeface="Arial"/>
                <a:ea typeface="+mn-lt"/>
                <a:cs typeface="Arial"/>
              </a:rPr>
              <a:t> as it was the most popular dish before relaunch but after the relaunch, due to lack of substitute to that, instead of ordering salad and soup separately  visitors choose one of two , being more pocket friend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i="1">
                <a:latin typeface="Arial"/>
                <a:ea typeface="+mn-lt"/>
                <a:cs typeface="Arial"/>
              </a:rPr>
              <a:t>The reason for cocktails for being a big hit is that they act as a good evening substitute while costing less. So two cocktails made their way to top five list and the </a:t>
            </a:r>
            <a:r>
              <a:rPr lang="en-IN" sz="1200" b="1" i="1">
                <a:latin typeface="Arial"/>
                <a:ea typeface="+mn-lt"/>
                <a:cs typeface="Arial"/>
              </a:rPr>
              <a:t>busiest hours</a:t>
            </a:r>
            <a:r>
              <a:rPr lang="en-IN" sz="1200" i="1">
                <a:latin typeface="Arial"/>
                <a:ea typeface="+mn-lt"/>
                <a:cs typeface="Arial"/>
              </a:rPr>
              <a:t> also shifted to evening from afternoon.</a:t>
            </a:r>
            <a:endParaRPr lang="en-IN">
              <a:latin typeface="Arial"/>
              <a:ea typeface="+mn-l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200" i="1">
              <a:latin typeface="Arial"/>
              <a:ea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974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2D744050-6B1E-4B0D-8F75-9852C4A48E39}"/>
              </a:ext>
            </a:extLst>
          </p:cNvPr>
          <p:cNvSpPr/>
          <p:nvPr/>
        </p:nvSpPr>
        <p:spPr>
          <a:xfrm>
            <a:off x="0" y="6446"/>
            <a:ext cx="12225854" cy="1291505"/>
          </a:xfrm>
          <a:prstGeom prst="rect">
            <a:avLst/>
          </a:prstGeom>
          <a:solidFill>
            <a:srgbClr val="192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98B4E07-1FCB-49B5-A0B8-9A1BF644C6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98B4E07-1FCB-49B5-A0B8-9A1BF644C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0268FF0D-40C1-4EB2-87BD-FDF4F0582D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567060" y="1391663"/>
            <a:ext cx="11176000" cy="481260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venir Next LT Pro" panose="020B0504020202020204" pitchFamily="34" charset="0"/>
              <a:cs typeface="Arial" pitchFamily="34" charset="0"/>
            </a:endParaRPr>
          </a:p>
        </p:txBody>
      </p:sp>
      <p:cxnSp>
        <p:nvCxnSpPr>
          <p:cNvPr id="5" name="Straight Connector 4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2800" y="3195258"/>
            <a:ext cx="1049866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>
            <a:spLocks/>
          </p:cNvSpPr>
          <p:nvPr/>
        </p:nvSpPr>
        <p:spPr>
          <a:xfrm>
            <a:off x="3148981" y="1554658"/>
            <a:ext cx="8128000" cy="2031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>
                <a:solidFill>
                  <a:srgbClr val="192D57"/>
                </a:solidFill>
                <a:latin typeface="arial"/>
                <a:cs typeface="Arial"/>
              </a:rPr>
              <a:t>Lunch combos must  be Re-Launched but this time with some exciting fusions!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>
                <a:solidFill>
                  <a:srgbClr val="192D57"/>
                </a:solidFill>
                <a:latin typeface="arial"/>
                <a:cs typeface="Arial"/>
              </a:rPr>
              <a:t>Price of top 5 purchased items must be increased to meet up the standards of the expected revenue(except the salads.)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>
                <a:solidFill>
                  <a:srgbClr val="192D57"/>
                </a:solidFill>
                <a:latin typeface="arial"/>
                <a:cs typeface="Arial"/>
              </a:rPr>
              <a:t>Quantity served per item must be decreased for all salads to prevent sharing which leads to decline in revenue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>
                <a:solidFill>
                  <a:srgbClr val="192D57"/>
                </a:solidFill>
                <a:latin typeface="arial"/>
                <a:cs typeface="Arial"/>
              </a:rPr>
              <a:t>Make sure that all new dishes are introduced to the customers by offering them as complimentary dishes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b="1">
                <a:solidFill>
                  <a:srgbClr val="192D57"/>
                </a:solidFill>
                <a:latin typeface="arial"/>
                <a:cs typeface="Arial"/>
              </a:rPr>
              <a:t>Work on increasing the no. of families visiting on weekdays and  increase single person visits on weekends. 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200" b="1">
              <a:solidFill>
                <a:srgbClr val="192D57"/>
              </a:solidFill>
              <a:latin typeface="arial"/>
              <a:cs typeface="Arial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200">
              <a:solidFill>
                <a:srgbClr val="192D57"/>
              </a:solidFill>
              <a:latin typeface="arial"/>
              <a:cs typeface="Arial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200" u="none" strike="noStrike" kern="1200" cap="none" spc="0" normalizeH="0" baseline="0" noProof="0">
              <a:ln>
                <a:noFill/>
              </a:ln>
              <a:solidFill>
                <a:srgbClr val="192D57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7" name="Pentagon 6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738459" y="1807516"/>
            <a:ext cx="2235200" cy="762000"/>
          </a:xfrm>
          <a:prstGeom prst="homePlate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Recommendation</a:t>
            </a:r>
          </a:p>
        </p:txBody>
      </p:sp>
      <p:sp>
        <p:nvSpPr>
          <p:cNvPr id="9" name="Pentagon 8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38459" y="3352408"/>
            <a:ext cx="2235200" cy="762000"/>
          </a:xfrm>
          <a:prstGeom prst="homePlate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92D57"/>
                </a:solidFill>
                <a:effectLst/>
                <a:uLnTx/>
                <a:uFillTx/>
                <a:latin typeface="Avenir Next LT Pro" panose="020B0504020202020204" pitchFamily="34" charset="0"/>
                <a:cs typeface="Arial" pitchFamily="34" charset="0"/>
              </a:rPr>
              <a:t>Argumentation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3130396" y="3255199"/>
            <a:ext cx="8331200" cy="2585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endParaRPr lang="en-US" sz="1200" i="1">
              <a:solidFill>
                <a:srgbClr val="192D57"/>
              </a:solidFill>
              <a:latin typeface="arial"/>
              <a:cs typeface="Arial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Re-launch of lunch combos  will appeal the working professionals to switch back to them, which will re-flourish the business during weekdays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The popularity of top 5 items hints that people would stick to it even if the prices were to increase slightly  ,especially cocktails which seemed to be an instant hit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One of the major reasons for below par growth in revenue as compared to visitors was increase in the number of families visiting and the prevalence of sharing , so we could decrease the quantity of soups and salads so it would be  sufficient for one person .This would also increase the sales among individuals who don’t buy salads /soups as it could be too much for them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The top 5 dishes didn’t change much except introduction of cocktails , which might be due  to lack of exposure .The restaurant could serve a small complimentary servings of different dishes/desserts  every day  and take customer review to see which one to advertise/remove from the menu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200" i="1">
                <a:solidFill>
                  <a:srgbClr val="192D57"/>
                </a:solidFill>
                <a:latin typeface="arial"/>
                <a:cs typeface="Arial"/>
              </a:rPr>
              <a:t>Apart from these we need to encourage families to visit on weekdays and individuals to visit on weekends . For this we could have targeted offers for targeted cost.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1C9AEA4-FA1C-4D20-A57F-8E2D3739B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140" y="482489"/>
            <a:ext cx="11440800" cy="2988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Avenir Next LT Pro"/>
                <a:cs typeface="Arial"/>
              </a:rPr>
              <a:t>Task 2.  Solu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A1A462D-6DBF-4774-AD56-478B3B4F8D8E}"/>
              </a:ext>
            </a:extLst>
          </p:cNvPr>
          <p:cNvSpPr txBox="1">
            <a:spLocks/>
          </p:cNvSpPr>
          <p:nvPr/>
        </p:nvSpPr>
        <p:spPr>
          <a:xfrm>
            <a:off x="375140" y="699774"/>
            <a:ext cx="11074400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/>
          <a:p>
            <a:pPr>
              <a:defRPr/>
            </a:pP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  <a:cs typeface="Arial" pitchFamily="34" charset="0"/>
            </a:endParaRPr>
          </a:p>
        </p:txBody>
      </p:sp>
      <p:pic>
        <p:nvPicPr>
          <p:cNvPr id="2" name="Picture 22" descr="A picture containing light, drawing&#10;&#10;Description automatically generated">
            <a:extLst>
              <a:ext uri="{FF2B5EF4-FFF2-40B4-BE49-F238E27FC236}">
                <a16:creationId xmlns:a16="http://schemas.microsoft.com/office/drawing/2014/main" id="{25DE7764-22A7-4158-B7EF-412BDFDBCBF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233" y="6549358"/>
            <a:ext cx="508334" cy="235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90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OKVw_K06xf.w4Zhcl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OKVw_K06xf.w4Zhcl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OKVw_K06xf.w4Zhcl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OKVw_K06xf.w4Zhcl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FeT6ppx148rJvhJaIM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FeT6ppx148rJvhJaIM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cY.3VP3xN4qEJhf.Ta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OKVw_K06xf.w4Zhcl0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Lpa7qb0UKAwaFCe9OS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Lpa7qb0UKAwaFCe9OS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P39QWKI2LUdIq3BdgD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hzPDBg7JY0txx4Zpxu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ch8ewZBmLHrs4e2nYE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65000"/>
          </a:schemeClr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  <a:latin typeface="Cambria" panose="020405030504060302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Cambria" panose="02040503050406030204" pitchFamily="18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727ED9C305FF45B0231433739CF97B" ma:contentTypeVersion="13" ma:contentTypeDescription="Create a new document." ma:contentTypeScope="" ma:versionID="361d9f5f7d331ee81ffc65346a21032b">
  <xsd:schema xmlns:xsd="http://www.w3.org/2001/XMLSchema" xmlns:xs="http://www.w3.org/2001/XMLSchema" xmlns:p="http://schemas.microsoft.com/office/2006/metadata/properties" xmlns:ns3="f9dab535-b793-487e-882b-85cc89ea5c9b" xmlns:ns4="98bbcda7-b612-4754-ba50-c71b2de195a4" targetNamespace="http://schemas.microsoft.com/office/2006/metadata/properties" ma:root="true" ma:fieldsID="b4b0c6eb008d576cab97a236628a495c" ns3:_="" ns4:_="">
    <xsd:import namespace="f9dab535-b793-487e-882b-85cc89ea5c9b"/>
    <xsd:import namespace="98bbcda7-b612-4754-ba50-c71b2de195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ab535-b793-487e-882b-85cc89ea5c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bbcda7-b612-4754-ba50-c71b2de195a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9CB7201-4535-48BA-8430-DB5C87C495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0F5756-B4BB-4610-8F30-B69F440CDCC2}">
  <ds:schemaRefs>
    <ds:schemaRef ds:uri="98bbcda7-b612-4754-ba50-c71b2de195a4"/>
    <ds:schemaRef ds:uri="f9dab535-b793-487e-882b-85cc89ea5c9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B5B427E-575E-4E05-9064-872BE9FB5E56}">
  <ds:schemaRefs>
    <ds:schemaRef ds:uri="98bbcda7-b612-4754-ba50-c71b2de195a4"/>
    <ds:schemaRef ds:uri="f9dab535-b793-487e-882b-85cc89ea5c9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5</Slides>
  <Notes>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Office Theme</vt:lpstr>
      <vt:lpstr>1_Office Theme</vt:lpstr>
      <vt:lpstr>Finding harmony through food                                       -Team Braniacs </vt:lpstr>
      <vt:lpstr>Task 1.  </vt:lpstr>
      <vt:lpstr>Supporting materials for Task 1</vt:lpstr>
      <vt:lpstr>Supporting materials for Task 1</vt:lpstr>
      <vt:lpstr>Task 2.  Sol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ding harmony through food</dc:title>
  <dc:creator>Tomas Montvilas</dc:creator>
  <cp:revision>1</cp:revision>
  <dcterms:created xsi:type="dcterms:W3CDTF">2020-10-04T12:31:26Z</dcterms:created>
  <dcterms:modified xsi:type="dcterms:W3CDTF">2020-10-14T17:1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727ED9C305FF45B0231433739CF97B</vt:lpwstr>
  </property>
</Properties>
</file>